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83" r:id="rId4"/>
    <p:sldMasterId id="2147484483" r:id="rId5"/>
    <p:sldMasterId id="2147484517" r:id="rId6"/>
    <p:sldMasterId id="2147484556" r:id="rId7"/>
    <p:sldMasterId id="2147484588" r:id="rId8"/>
  </p:sldMasterIdLst>
  <p:notesMasterIdLst>
    <p:notesMasterId r:id="rId46"/>
  </p:notesMasterIdLst>
  <p:handoutMasterIdLst>
    <p:handoutMasterId r:id="rId47"/>
  </p:handoutMasterIdLst>
  <p:sldIdLst>
    <p:sldId id="275" r:id="rId9"/>
    <p:sldId id="2145705832" r:id="rId10"/>
    <p:sldId id="2145705869" r:id="rId11"/>
    <p:sldId id="2145705873" r:id="rId12"/>
    <p:sldId id="2145705872" r:id="rId13"/>
    <p:sldId id="2145705874" r:id="rId14"/>
    <p:sldId id="2145705876" r:id="rId15"/>
    <p:sldId id="2145705877" r:id="rId16"/>
    <p:sldId id="2145705879" r:id="rId17"/>
    <p:sldId id="2145705878" r:id="rId18"/>
    <p:sldId id="2145705880" r:id="rId19"/>
    <p:sldId id="2145705881" r:id="rId20"/>
    <p:sldId id="2145705882" r:id="rId21"/>
    <p:sldId id="2145705883" r:id="rId22"/>
    <p:sldId id="2145705886" r:id="rId23"/>
    <p:sldId id="2145705887" r:id="rId24"/>
    <p:sldId id="2145705875" r:id="rId25"/>
    <p:sldId id="2145705888" r:id="rId26"/>
    <p:sldId id="2145705889" r:id="rId27"/>
    <p:sldId id="2145705890" r:id="rId28"/>
    <p:sldId id="2145705891" r:id="rId29"/>
    <p:sldId id="2145705892" r:id="rId30"/>
    <p:sldId id="2145705893" r:id="rId31"/>
    <p:sldId id="2145705894" r:id="rId32"/>
    <p:sldId id="2145705895" r:id="rId33"/>
    <p:sldId id="2145705896" r:id="rId34"/>
    <p:sldId id="2145705897" r:id="rId35"/>
    <p:sldId id="2145705898" r:id="rId36"/>
    <p:sldId id="2145705899" r:id="rId37"/>
    <p:sldId id="2145705900" r:id="rId38"/>
    <p:sldId id="2145705901" r:id="rId39"/>
    <p:sldId id="2145705903" r:id="rId40"/>
    <p:sldId id="2145705902" r:id="rId41"/>
    <p:sldId id="2145705904" r:id="rId42"/>
    <p:sldId id="2145705905" r:id="rId43"/>
    <p:sldId id="2145705906" r:id="rId44"/>
    <p:sldId id="2145705907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89" userDrawn="1">
          <p15:clr>
            <a:srgbClr val="A4A3A4"/>
          </p15:clr>
        </p15:guide>
        <p15:guide id="4" pos="7491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892" userDrawn="1">
          <p15:clr>
            <a:srgbClr val="A4A3A4"/>
          </p15:clr>
        </p15:guide>
        <p15:guide id="8" pos="67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P. Abello" initials="MPA" lastIdx="10" clrIdx="0">
    <p:extLst>
      <p:ext uri="{19B8F6BF-5375-455C-9EA6-DF929625EA0E}">
        <p15:presenceInfo xmlns:p15="http://schemas.microsoft.com/office/powerpoint/2012/main" userId="S-1-5-21-1214407262-1492470052-313073093-53673" providerId="AD"/>
      </p:ext>
    </p:extLst>
  </p:cmAuthor>
  <p:cmAuthor id="2" name="Edwin Elberg" initials="EE" lastIdx="94" clrIdx="1">
    <p:extLst>
      <p:ext uri="{19B8F6BF-5375-455C-9EA6-DF929625EA0E}">
        <p15:presenceInfo xmlns:p15="http://schemas.microsoft.com/office/powerpoint/2012/main" userId="S-1-5-21-1214407262-1492470052-313073093-53344" providerId="AD"/>
      </p:ext>
    </p:extLst>
  </p:cmAuthor>
  <p:cmAuthor id="3" name="Autor" initials="A" lastIdx="1299" clrIdx="2"/>
  <p:cmAuthor id="4" name="Manon Veenbaas" initials="MV" lastIdx="2" clrIdx="3">
    <p:extLst>
      <p:ext uri="{19B8F6BF-5375-455C-9EA6-DF929625EA0E}">
        <p15:presenceInfo xmlns:p15="http://schemas.microsoft.com/office/powerpoint/2012/main" userId="S-1-5-21-1214407262-1492470052-313073093-67280" providerId="AD"/>
      </p:ext>
    </p:extLst>
  </p:cmAuthor>
  <p:cmAuthor id="5" name="Edwin Geofrey Elberg Adler" initials="EGEA" lastIdx="21" clrIdx="4">
    <p:extLst>
      <p:ext uri="{19B8F6BF-5375-455C-9EA6-DF929625EA0E}">
        <p15:presenceInfo xmlns:p15="http://schemas.microsoft.com/office/powerpoint/2012/main" userId="S::eelberg@vtr.cl::2878b473-4026-4bb1-9124-8fb0d9dfdd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A16"/>
    <a:srgbClr val="000000"/>
    <a:srgbClr val="004F9F"/>
    <a:srgbClr val="FFFFFF"/>
    <a:srgbClr val="FF4100"/>
    <a:srgbClr val="C0C0C0"/>
    <a:srgbClr val="D83C8A"/>
    <a:srgbClr val="831F82"/>
    <a:srgbClr val="B9DCFF"/>
    <a:srgbClr val="3E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67C924-D7D0-4440-B40E-9A3AAD7549A9}" v="29" dt="2025-10-01T14:49:57.5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3447" autoAdjust="0"/>
  </p:normalViewPr>
  <p:slideViewPr>
    <p:cSldViewPr snapToGrid="0">
      <p:cViewPr varScale="1">
        <p:scale>
          <a:sx n="102" d="100"/>
          <a:sy n="102" d="100"/>
        </p:scale>
        <p:origin x="548" y="288"/>
      </p:cViewPr>
      <p:guideLst>
        <p:guide orient="horz" pos="2160"/>
        <p:guide pos="3840"/>
        <p:guide pos="189"/>
        <p:guide pos="7491"/>
        <p:guide orient="horz" pos="799"/>
        <p:guide orient="horz" pos="4020"/>
        <p:guide pos="892"/>
        <p:guide pos="678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ilton Stewart Rodríguez Parra" userId="9d47022e6f4561a5" providerId="Windows Live" clId="Web-{79DEEF65-5D32-CED1-3C27-7D4CB66E4C3A}"/>
    <pc:docChg chg="addSld delSld modSld sldOrd">
      <pc:chgData name="Hamilton Stewart Rodríguez Parra" userId="9d47022e6f4561a5" providerId="Windows Live" clId="Web-{79DEEF65-5D32-CED1-3C27-7D4CB66E4C3A}" dt="2025-07-22T16:01:09.285" v="377" actId="1076"/>
      <pc:docMkLst>
        <pc:docMk/>
      </pc:docMkLst>
      <pc:sldChg chg="modSp">
        <pc:chgData name="Hamilton Stewart Rodríguez Parra" userId="9d47022e6f4561a5" providerId="Windows Live" clId="Web-{79DEEF65-5D32-CED1-3C27-7D4CB66E4C3A}" dt="2025-07-22T12:09:51.086" v="17" actId="14100"/>
        <pc:sldMkLst>
          <pc:docMk/>
          <pc:sldMk cId="857024924" sldId="275"/>
        </pc:sldMkLst>
      </pc:sldChg>
      <pc:sldChg chg="addSp delSp modSp">
        <pc:chgData name="Hamilton Stewart Rodríguez Parra" userId="9d47022e6f4561a5" providerId="Windows Live" clId="Web-{79DEEF65-5D32-CED1-3C27-7D4CB66E4C3A}" dt="2025-07-22T16:01:09.285" v="377" actId="1076"/>
        <pc:sldMkLst>
          <pc:docMk/>
          <pc:sldMk cId="138811212" sldId="2145705832"/>
        </pc:sldMkLst>
      </pc:sldChg>
      <pc:sldChg chg="del">
        <pc:chgData name="Hamilton Stewart Rodríguez Parra" userId="9d47022e6f4561a5" providerId="Windows Live" clId="Web-{79DEEF65-5D32-CED1-3C27-7D4CB66E4C3A}" dt="2025-07-22T14:37:01.797" v="228"/>
        <pc:sldMkLst>
          <pc:docMk/>
          <pc:sldMk cId="1174161901" sldId="2145705835"/>
        </pc:sldMkLst>
      </pc:sldChg>
      <pc:sldChg chg="addSp delSp modSp">
        <pc:chgData name="Hamilton Stewart Rodríguez Parra" userId="9d47022e6f4561a5" providerId="Windows Live" clId="Web-{79DEEF65-5D32-CED1-3C27-7D4CB66E4C3A}" dt="2025-07-22T13:22:52.215" v="141"/>
        <pc:sldMkLst>
          <pc:docMk/>
          <pc:sldMk cId="1576575548" sldId="2145705836"/>
        </pc:sldMkLst>
      </pc:sldChg>
      <pc:sldChg chg="del">
        <pc:chgData name="Hamilton Stewart Rodríguez Parra" userId="9d47022e6f4561a5" providerId="Windows Live" clId="Web-{79DEEF65-5D32-CED1-3C27-7D4CB66E4C3A}" dt="2025-07-22T14:37:01.797" v="227"/>
        <pc:sldMkLst>
          <pc:docMk/>
          <pc:sldMk cId="805799168" sldId="2145705837"/>
        </pc:sldMkLst>
      </pc:sldChg>
      <pc:sldChg chg="del">
        <pc:chgData name="Hamilton Stewart Rodríguez Parra" userId="9d47022e6f4561a5" providerId="Windows Live" clId="Web-{79DEEF65-5D32-CED1-3C27-7D4CB66E4C3A}" dt="2025-07-22T14:37:01.797" v="222"/>
        <pc:sldMkLst>
          <pc:docMk/>
          <pc:sldMk cId="253399744" sldId="2145705838"/>
        </pc:sldMkLst>
      </pc:sldChg>
      <pc:sldChg chg="del">
        <pc:chgData name="Hamilton Stewart Rodríguez Parra" userId="9d47022e6f4561a5" providerId="Windows Live" clId="Web-{79DEEF65-5D32-CED1-3C27-7D4CB66E4C3A}" dt="2025-07-22T14:37:01.797" v="224"/>
        <pc:sldMkLst>
          <pc:docMk/>
          <pc:sldMk cId="1061534771" sldId="2145705839"/>
        </pc:sldMkLst>
      </pc:sldChg>
      <pc:sldChg chg="del">
        <pc:chgData name="Hamilton Stewart Rodríguez Parra" userId="9d47022e6f4561a5" providerId="Windows Live" clId="Web-{79DEEF65-5D32-CED1-3C27-7D4CB66E4C3A}" dt="2025-07-22T14:37:01.797" v="223"/>
        <pc:sldMkLst>
          <pc:docMk/>
          <pc:sldMk cId="1932159061" sldId="2145705840"/>
        </pc:sldMkLst>
      </pc:sldChg>
      <pc:sldChg chg="del">
        <pc:chgData name="Hamilton Stewart Rodríguez Parra" userId="9d47022e6f4561a5" providerId="Windows Live" clId="Web-{79DEEF65-5D32-CED1-3C27-7D4CB66E4C3A}" dt="2025-07-22T14:37:01.797" v="226"/>
        <pc:sldMkLst>
          <pc:docMk/>
          <pc:sldMk cId="4258674718" sldId="2145705841"/>
        </pc:sldMkLst>
      </pc:sldChg>
      <pc:sldChg chg="del">
        <pc:chgData name="Hamilton Stewart Rodríguez Parra" userId="9d47022e6f4561a5" providerId="Windows Live" clId="Web-{79DEEF65-5D32-CED1-3C27-7D4CB66E4C3A}" dt="2025-07-22T14:37:01.797" v="225"/>
        <pc:sldMkLst>
          <pc:docMk/>
          <pc:sldMk cId="1385118724" sldId="2145705842"/>
        </pc:sldMkLst>
      </pc:sldChg>
      <pc:sldChg chg="del">
        <pc:chgData name="Hamilton Stewart Rodríguez Parra" userId="9d47022e6f4561a5" providerId="Windows Live" clId="Web-{79DEEF65-5D32-CED1-3C27-7D4CB66E4C3A}" dt="2025-07-22T14:37:01.797" v="221"/>
        <pc:sldMkLst>
          <pc:docMk/>
          <pc:sldMk cId="2528418816" sldId="2145705843"/>
        </pc:sldMkLst>
      </pc:sldChg>
      <pc:sldChg chg="del">
        <pc:chgData name="Hamilton Stewart Rodríguez Parra" userId="9d47022e6f4561a5" providerId="Windows Live" clId="Web-{79DEEF65-5D32-CED1-3C27-7D4CB66E4C3A}" dt="2025-07-22T14:37:01.797" v="220"/>
        <pc:sldMkLst>
          <pc:docMk/>
          <pc:sldMk cId="4097153010" sldId="2145705844"/>
        </pc:sldMkLst>
      </pc:sldChg>
      <pc:sldChg chg="del">
        <pc:chgData name="Hamilton Stewart Rodríguez Parra" userId="9d47022e6f4561a5" providerId="Windows Live" clId="Web-{79DEEF65-5D32-CED1-3C27-7D4CB66E4C3A}" dt="2025-07-22T14:37:01.782" v="219"/>
        <pc:sldMkLst>
          <pc:docMk/>
          <pc:sldMk cId="820685486" sldId="2145705845"/>
        </pc:sldMkLst>
      </pc:sldChg>
      <pc:sldChg chg="del">
        <pc:chgData name="Hamilton Stewart Rodríguez Parra" userId="9d47022e6f4561a5" providerId="Windows Live" clId="Web-{79DEEF65-5D32-CED1-3C27-7D4CB66E4C3A}" dt="2025-07-22T14:37:01.782" v="216"/>
        <pc:sldMkLst>
          <pc:docMk/>
          <pc:sldMk cId="2567271911" sldId="2145705846"/>
        </pc:sldMkLst>
      </pc:sldChg>
      <pc:sldChg chg="del">
        <pc:chgData name="Hamilton Stewart Rodríguez Parra" userId="9d47022e6f4561a5" providerId="Windows Live" clId="Web-{79DEEF65-5D32-CED1-3C27-7D4CB66E4C3A}" dt="2025-07-22T14:37:01.782" v="209"/>
        <pc:sldMkLst>
          <pc:docMk/>
          <pc:sldMk cId="2452410328" sldId="2145705848"/>
        </pc:sldMkLst>
      </pc:sldChg>
      <pc:sldChg chg="del">
        <pc:chgData name="Hamilton Stewart Rodríguez Parra" userId="9d47022e6f4561a5" providerId="Windows Live" clId="Web-{79DEEF65-5D32-CED1-3C27-7D4CB66E4C3A}" dt="2025-07-22T14:37:01.782" v="218"/>
        <pc:sldMkLst>
          <pc:docMk/>
          <pc:sldMk cId="1909390008" sldId="2145705850"/>
        </pc:sldMkLst>
      </pc:sldChg>
      <pc:sldChg chg="del">
        <pc:chgData name="Hamilton Stewart Rodríguez Parra" userId="9d47022e6f4561a5" providerId="Windows Live" clId="Web-{79DEEF65-5D32-CED1-3C27-7D4CB66E4C3A}" dt="2025-07-22T14:37:01.782" v="217"/>
        <pc:sldMkLst>
          <pc:docMk/>
          <pc:sldMk cId="97457363" sldId="2145705851"/>
        </pc:sldMkLst>
      </pc:sldChg>
      <pc:sldChg chg="del">
        <pc:chgData name="Hamilton Stewart Rodríguez Parra" userId="9d47022e6f4561a5" providerId="Windows Live" clId="Web-{79DEEF65-5D32-CED1-3C27-7D4CB66E4C3A}" dt="2025-07-22T14:37:01.782" v="215"/>
        <pc:sldMkLst>
          <pc:docMk/>
          <pc:sldMk cId="2132042571" sldId="2145705852"/>
        </pc:sldMkLst>
      </pc:sldChg>
      <pc:sldChg chg="del">
        <pc:chgData name="Hamilton Stewart Rodríguez Parra" userId="9d47022e6f4561a5" providerId="Windows Live" clId="Web-{79DEEF65-5D32-CED1-3C27-7D4CB66E4C3A}" dt="2025-07-22T14:37:01.782" v="214"/>
        <pc:sldMkLst>
          <pc:docMk/>
          <pc:sldMk cId="3002438400" sldId="2145705853"/>
        </pc:sldMkLst>
      </pc:sldChg>
      <pc:sldChg chg="del">
        <pc:chgData name="Hamilton Stewart Rodríguez Parra" userId="9d47022e6f4561a5" providerId="Windows Live" clId="Web-{79DEEF65-5D32-CED1-3C27-7D4CB66E4C3A}" dt="2025-07-22T14:37:01.782" v="213"/>
        <pc:sldMkLst>
          <pc:docMk/>
          <pc:sldMk cId="3568815488" sldId="2145705854"/>
        </pc:sldMkLst>
      </pc:sldChg>
      <pc:sldChg chg="del">
        <pc:chgData name="Hamilton Stewart Rodríguez Parra" userId="9d47022e6f4561a5" providerId="Windows Live" clId="Web-{79DEEF65-5D32-CED1-3C27-7D4CB66E4C3A}" dt="2025-07-22T14:37:01.782" v="212"/>
        <pc:sldMkLst>
          <pc:docMk/>
          <pc:sldMk cId="45499549" sldId="2145705855"/>
        </pc:sldMkLst>
      </pc:sldChg>
      <pc:sldChg chg="del">
        <pc:chgData name="Hamilton Stewart Rodríguez Parra" userId="9d47022e6f4561a5" providerId="Windows Live" clId="Web-{79DEEF65-5D32-CED1-3C27-7D4CB66E4C3A}" dt="2025-07-22T14:37:01.782" v="211"/>
        <pc:sldMkLst>
          <pc:docMk/>
          <pc:sldMk cId="1933211623" sldId="2145705856"/>
        </pc:sldMkLst>
      </pc:sldChg>
      <pc:sldChg chg="del">
        <pc:chgData name="Hamilton Stewart Rodríguez Parra" userId="9d47022e6f4561a5" providerId="Windows Live" clId="Web-{79DEEF65-5D32-CED1-3C27-7D4CB66E4C3A}" dt="2025-07-22T14:37:01.782" v="210"/>
        <pc:sldMkLst>
          <pc:docMk/>
          <pc:sldMk cId="1057248796" sldId="2145705857"/>
        </pc:sldMkLst>
      </pc:sldChg>
      <pc:sldChg chg="del">
        <pc:chgData name="Hamilton Stewart Rodríguez Parra" userId="9d47022e6f4561a5" providerId="Windows Live" clId="Web-{79DEEF65-5D32-CED1-3C27-7D4CB66E4C3A}" dt="2025-07-22T14:37:01.782" v="208"/>
        <pc:sldMkLst>
          <pc:docMk/>
          <pc:sldMk cId="3407856218" sldId="2145705858"/>
        </pc:sldMkLst>
      </pc:sldChg>
      <pc:sldChg chg="addSp modSp add replId">
        <pc:chgData name="Hamilton Stewart Rodríguez Parra" userId="9d47022e6f4561a5" providerId="Windows Live" clId="Web-{79DEEF65-5D32-CED1-3C27-7D4CB66E4C3A}" dt="2025-07-22T14:47:27.441" v="251" actId="1076"/>
        <pc:sldMkLst>
          <pc:docMk/>
          <pc:sldMk cId="2132975493" sldId="2145705859"/>
        </pc:sldMkLst>
      </pc:sldChg>
      <pc:sldChg chg="addSp modSp add ord replId">
        <pc:chgData name="Hamilton Stewart Rodríguez Parra" userId="9d47022e6f4561a5" providerId="Windows Live" clId="Web-{79DEEF65-5D32-CED1-3C27-7D4CB66E4C3A}" dt="2025-07-22T15:53:04.564" v="367"/>
        <pc:sldMkLst>
          <pc:docMk/>
          <pc:sldMk cId="1577805932" sldId="2145705860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26.298" v="364"/>
        <pc:sldMkLst>
          <pc:docMk/>
          <pc:sldMk cId="2821006872" sldId="2145705861"/>
        </pc:sldMkLst>
      </pc:sldChg>
      <pc:sldChg chg="modSp add del replId">
        <pc:chgData name="Hamilton Stewart Rodríguez Parra" userId="9d47022e6f4561a5" providerId="Windows Live" clId="Web-{79DEEF65-5D32-CED1-3C27-7D4CB66E4C3A}" dt="2025-07-22T14:36:54.313" v="207"/>
        <pc:sldMkLst>
          <pc:docMk/>
          <pc:sldMk cId="2044327708" sldId="2145705862"/>
        </pc:sldMkLst>
      </pc:sldChg>
      <pc:sldChg chg="addSp delSp modSp add ord replId">
        <pc:chgData name="Hamilton Stewart Rodríguez Parra" userId="9d47022e6f4561a5" providerId="Windows Live" clId="Web-{79DEEF65-5D32-CED1-3C27-7D4CB66E4C3A}" dt="2025-07-22T15:52:36.970" v="366"/>
        <pc:sldMkLst>
          <pc:docMk/>
          <pc:sldMk cId="2333665196" sldId="2145705863"/>
        </pc:sldMkLst>
      </pc:sldChg>
      <pc:sldChg chg="addSp delSp modSp add replId">
        <pc:chgData name="Hamilton Stewart Rodríguez Parra" userId="9d47022e6f4561a5" providerId="Windows Live" clId="Web-{79DEEF65-5D32-CED1-3C27-7D4CB66E4C3A}" dt="2025-07-22T14:16:59.776" v="206" actId="1076"/>
        <pc:sldMkLst>
          <pc:docMk/>
          <pc:sldMk cId="785341915" sldId="2145705864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8:55.297" v="352" actId="1076"/>
        <pc:sldMkLst>
          <pc:docMk/>
          <pc:sldMk cId="3581387757" sldId="2145705865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54:10.392" v="371"/>
        <pc:sldMkLst>
          <pc:docMk/>
          <pc:sldMk cId="1546539351" sldId="2145705866"/>
        </pc:sldMkLst>
      </pc:sldChg>
      <pc:sldChg chg="addSp delSp modSp add replId">
        <pc:chgData name="Hamilton Stewart Rodríguez Parra" userId="9d47022e6f4561a5" providerId="Windows Live" clId="Web-{79DEEF65-5D32-CED1-3C27-7D4CB66E4C3A}" dt="2025-07-22T15:44:22.076" v="324" actId="1076"/>
        <pc:sldMkLst>
          <pc:docMk/>
          <pc:sldMk cId="259963827" sldId="2145705867"/>
        </pc:sldMkLst>
      </pc:sldChg>
      <pc:sldChg chg="add del replId">
        <pc:chgData name="Hamilton Stewart Rodríguez Parra" userId="9d47022e6f4561a5" providerId="Windows Live" clId="Web-{79DEEF65-5D32-CED1-3C27-7D4CB66E4C3A}" dt="2025-07-22T15:44:33.608" v="325"/>
        <pc:sldMkLst>
          <pc:docMk/>
          <pc:sldMk cId="3747441064" sldId="2145705868"/>
        </pc:sldMkLst>
      </pc:sldChg>
    </pc:docChg>
  </pc:docChgLst>
  <pc:docChgLst>
    <pc:chgData name="Hamilton Rodriguez" userId="f71b9de3-2009-44e3-9598-cd76df76ca85" providerId="ADAL" clId="{DA94863B-2D99-4260-A2D3-677E49E36ADA}"/>
    <pc:docChg chg="custSel addSld modSld">
      <pc:chgData name="Hamilton Rodriguez" userId="f71b9de3-2009-44e3-9598-cd76df76ca85" providerId="ADAL" clId="{DA94863B-2D99-4260-A2D3-677E49E36ADA}" dt="2025-07-30T18:47:37.614" v="445" actId="6549"/>
      <pc:docMkLst>
        <pc:docMk/>
      </pc:docMkLst>
      <pc:sldChg chg="modSp mod">
        <pc:chgData name="Hamilton Rodriguez" userId="f71b9de3-2009-44e3-9598-cd76df76ca85" providerId="ADAL" clId="{DA94863B-2D99-4260-A2D3-677E49E36ADA}" dt="2025-07-30T14:29:49.802" v="5" actId="20577"/>
        <pc:sldMkLst>
          <pc:docMk/>
          <pc:sldMk cId="857024924" sldId="275"/>
        </pc:sldMkLst>
      </pc:sldChg>
      <pc:sldChg chg="addSp delSp modSp add mod modShow">
        <pc:chgData name="Hamilton Rodriguez" userId="f71b9de3-2009-44e3-9598-cd76df76ca85" providerId="ADAL" clId="{DA94863B-2D99-4260-A2D3-677E49E36ADA}" dt="2025-07-30T18:47:37.614" v="445" actId="6549"/>
        <pc:sldMkLst>
          <pc:docMk/>
          <pc:sldMk cId="4000256887" sldId="2145705868"/>
        </pc:sldMkLst>
      </pc:sldChg>
    </pc:docChg>
  </pc:docChgLst>
  <pc:docChgLst>
    <pc:chgData name="Miguel A. Rubiano" userId="5de3eca7-df65-45ab-9fac-21fe3414869d" providerId="ADAL" clId="{E7C5C7AC-5581-4595-9269-BFD9D6D7BD46}"/>
    <pc:docChg chg="undo custSel addSld delSld modSld sldOrd">
      <pc:chgData name="Miguel A. Rubiano" userId="5de3eca7-df65-45ab-9fac-21fe3414869d" providerId="ADAL" clId="{E7C5C7AC-5581-4595-9269-BFD9D6D7BD46}" dt="2025-04-08T14:44:18.667" v="1006" actId="255"/>
      <pc:docMkLst>
        <pc:docMk/>
      </pc:docMkLst>
      <pc:sldChg chg="modSp mod">
        <pc:chgData name="Miguel A. Rubiano" userId="5de3eca7-df65-45ab-9fac-21fe3414869d" providerId="ADAL" clId="{E7C5C7AC-5581-4595-9269-BFD9D6D7BD46}" dt="2025-04-07T21:33:29.752" v="671" actId="6549"/>
        <pc:sldMkLst>
          <pc:docMk/>
          <pc:sldMk cId="2640578046" sldId="2145705803"/>
        </pc:sldMkLst>
      </pc:sldChg>
      <pc:sldChg chg="addSp delSp modSp mod setBg">
        <pc:chgData name="Miguel A. Rubiano" userId="5de3eca7-df65-45ab-9fac-21fe3414869d" providerId="ADAL" clId="{E7C5C7AC-5581-4595-9269-BFD9D6D7BD46}" dt="2025-04-08T13:32:35.614" v="737" actId="478"/>
        <pc:sldMkLst>
          <pc:docMk/>
          <pc:sldMk cId="3658824876" sldId="2145705807"/>
        </pc:sldMkLst>
      </pc:sldChg>
      <pc:sldChg chg="modSp setBg">
        <pc:chgData name="Miguel A. Rubiano" userId="5de3eca7-df65-45ab-9fac-21fe3414869d" providerId="ADAL" clId="{E7C5C7AC-5581-4595-9269-BFD9D6D7BD46}" dt="2025-04-08T13:31:31.840" v="733"/>
        <pc:sldMkLst>
          <pc:docMk/>
          <pc:sldMk cId="904865137" sldId="2145705808"/>
        </pc:sldMkLst>
      </pc:sldChg>
      <pc:sldChg chg="modSp setBg">
        <pc:chgData name="Miguel A. Rubiano" userId="5de3eca7-df65-45ab-9fac-21fe3414869d" providerId="ADAL" clId="{E7C5C7AC-5581-4595-9269-BFD9D6D7BD46}" dt="2025-04-08T13:34:03.453" v="743"/>
        <pc:sldMkLst>
          <pc:docMk/>
          <pc:sldMk cId="2372554428" sldId="2145705809"/>
        </pc:sldMkLst>
      </pc:sldChg>
      <pc:sldChg chg="addSp delSp modSp add mod">
        <pc:chgData name="Miguel A. Rubiano" userId="5de3eca7-df65-45ab-9fac-21fe3414869d" providerId="ADAL" clId="{E7C5C7AC-5581-4595-9269-BFD9D6D7BD46}" dt="2025-04-07T20:31:38.947" v="363" actId="123"/>
        <pc:sldMkLst>
          <pc:docMk/>
          <pc:sldMk cId="1270399109" sldId="2145705810"/>
        </pc:sldMkLst>
      </pc:sldChg>
      <pc:sldChg chg="addSp delSp modSp add mod">
        <pc:chgData name="Miguel A. Rubiano" userId="5de3eca7-df65-45ab-9fac-21fe3414869d" providerId="ADAL" clId="{E7C5C7AC-5581-4595-9269-BFD9D6D7BD46}" dt="2025-04-07T20:31:35.486" v="362" actId="123"/>
        <pc:sldMkLst>
          <pc:docMk/>
          <pc:sldMk cId="4036913859" sldId="2145705811"/>
        </pc:sldMkLst>
      </pc:sldChg>
      <pc:sldChg chg="addSp delSp modSp add mod">
        <pc:chgData name="Miguel A. Rubiano" userId="5de3eca7-df65-45ab-9fac-21fe3414869d" providerId="ADAL" clId="{E7C5C7AC-5581-4595-9269-BFD9D6D7BD46}" dt="2025-04-07T20:34:14.949" v="430" actId="20577"/>
        <pc:sldMkLst>
          <pc:docMk/>
          <pc:sldMk cId="2097962941" sldId="2145705812"/>
        </pc:sldMkLst>
      </pc:sldChg>
      <pc:sldChg chg="modSp add mod ord">
        <pc:chgData name="Miguel A. Rubiano" userId="5de3eca7-df65-45ab-9fac-21fe3414869d" providerId="ADAL" clId="{E7C5C7AC-5581-4595-9269-BFD9D6D7BD46}" dt="2025-04-07T20:40:06.824" v="443" actId="20577"/>
        <pc:sldMkLst>
          <pc:docMk/>
          <pc:sldMk cId="1233773939" sldId="2145705813"/>
        </pc:sldMkLst>
      </pc:sldChg>
      <pc:sldChg chg="modSp add mod ord">
        <pc:chgData name="Miguel A. Rubiano" userId="5de3eca7-df65-45ab-9fac-21fe3414869d" providerId="ADAL" clId="{E7C5C7AC-5581-4595-9269-BFD9D6D7BD46}" dt="2025-04-07T21:01:16.913" v="484" actId="20577"/>
        <pc:sldMkLst>
          <pc:docMk/>
          <pc:sldMk cId="3237364529" sldId="2145705814"/>
        </pc:sldMkLst>
      </pc:sldChg>
      <pc:sldChg chg="modSp add mod ord">
        <pc:chgData name="Miguel A. Rubiano" userId="5de3eca7-df65-45ab-9fac-21fe3414869d" providerId="ADAL" clId="{E7C5C7AC-5581-4595-9269-BFD9D6D7BD46}" dt="2025-04-07T21:17:23.265" v="603" actId="6549"/>
        <pc:sldMkLst>
          <pc:docMk/>
          <pc:sldMk cId="3494367151" sldId="2145705815"/>
        </pc:sldMkLst>
      </pc:sldChg>
      <pc:sldChg chg="addSp delSp modSp add mod">
        <pc:chgData name="Miguel A. Rubiano" userId="5de3eca7-df65-45ab-9fac-21fe3414869d" providerId="ADAL" clId="{E7C5C7AC-5581-4595-9269-BFD9D6D7BD46}" dt="2025-04-07T21:25:37.930" v="654" actId="20577"/>
        <pc:sldMkLst>
          <pc:docMk/>
          <pc:sldMk cId="2010565102" sldId="2145705816"/>
        </pc:sldMkLst>
      </pc:sldChg>
      <pc:sldChg chg="addSp delSp modSp add mod">
        <pc:chgData name="Miguel A. Rubiano" userId="5de3eca7-df65-45ab-9fac-21fe3414869d" providerId="ADAL" clId="{E7C5C7AC-5581-4595-9269-BFD9D6D7BD46}" dt="2025-04-07T21:34:32.730" v="678"/>
        <pc:sldMkLst>
          <pc:docMk/>
          <pc:sldMk cId="75812208" sldId="2145705817"/>
        </pc:sldMkLst>
      </pc:sldChg>
      <pc:sldChg chg="addSp delSp modSp add mod">
        <pc:chgData name="Miguel A. Rubiano" userId="5de3eca7-df65-45ab-9fac-21fe3414869d" providerId="ADAL" clId="{E7C5C7AC-5581-4595-9269-BFD9D6D7BD46}" dt="2025-04-07T21:44:58.815" v="696" actId="20577"/>
        <pc:sldMkLst>
          <pc:docMk/>
          <pc:sldMk cId="3766438650" sldId="2145705818"/>
        </pc:sldMkLst>
      </pc:sldChg>
      <pc:sldChg chg="addSp delSp modSp add mod">
        <pc:chgData name="Miguel A. Rubiano" userId="5de3eca7-df65-45ab-9fac-21fe3414869d" providerId="ADAL" clId="{E7C5C7AC-5581-4595-9269-BFD9D6D7BD46}" dt="2025-04-07T21:52:05.943" v="717" actId="6549"/>
        <pc:sldMkLst>
          <pc:docMk/>
          <pc:sldMk cId="2770535136" sldId="2145705819"/>
        </pc:sldMkLst>
      </pc:sldChg>
      <pc:sldChg chg="addSp delSp modSp add mod">
        <pc:chgData name="Miguel A. Rubiano" userId="5de3eca7-df65-45ab-9fac-21fe3414869d" providerId="ADAL" clId="{E7C5C7AC-5581-4595-9269-BFD9D6D7BD46}" dt="2025-04-08T13:29:34.074" v="729" actId="20577"/>
        <pc:sldMkLst>
          <pc:docMk/>
          <pc:sldMk cId="458804073" sldId="2145705820"/>
        </pc:sldMkLst>
      </pc:sldChg>
      <pc:sldChg chg="addSp delSp modSp mod">
        <pc:chgData name="Miguel A. Rubiano" userId="5de3eca7-df65-45ab-9fac-21fe3414869d" providerId="ADAL" clId="{E7C5C7AC-5581-4595-9269-BFD9D6D7BD46}" dt="2025-04-08T13:31:21.951" v="731"/>
        <pc:sldMkLst>
          <pc:docMk/>
          <pc:sldMk cId="1780953469" sldId="2145705821"/>
        </pc:sldMkLst>
      </pc:sldChg>
      <pc:sldChg chg="addSp delSp modSp add mod">
        <pc:chgData name="Miguel A. Rubiano" userId="5de3eca7-df65-45ab-9fac-21fe3414869d" providerId="ADAL" clId="{E7C5C7AC-5581-4595-9269-BFD9D6D7BD46}" dt="2025-04-08T13:33:44.094" v="742" actId="6549"/>
        <pc:sldMkLst>
          <pc:docMk/>
          <pc:sldMk cId="193963335" sldId="2145705822"/>
        </pc:sldMkLst>
      </pc:sldChg>
      <pc:sldChg chg="addSp delSp modSp add del mod">
        <pc:chgData name="Miguel A. Rubiano" userId="5de3eca7-df65-45ab-9fac-21fe3414869d" providerId="ADAL" clId="{E7C5C7AC-5581-4595-9269-BFD9D6D7BD46}" dt="2025-04-08T13:39:49.284" v="755" actId="47"/>
        <pc:sldMkLst>
          <pc:docMk/>
          <pc:sldMk cId="3142858518" sldId="2145705823"/>
        </pc:sldMkLst>
      </pc:sldChg>
      <pc:sldChg chg="del">
        <pc:chgData name="Miguel A. Rubiano" userId="5de3eca7-df65-45ab-9fac-21fe3414869d" providerId="ADAL" clId="{E7C5C7AC-5581-4595-9269-BFD9D6D7BD46}" dt="2025-04-08T13:37:16.335" v="746" actId="47"/>
        <pc:sldMkLst>
          <pc:docMk/>
          <pc:sldMk cId="3901438177" sldId="2145705824"/>
        </pc:sldMkLst>
      </pc:sldChg>
      <pc:sldChg chg="addSp delSp modSp mod">
        <pc:chgData name="Miguel A. Rubiano" userId="5de3eca7-df65-45ab-9fac-21fe3414869d" providerId="ADAL" clId="{E7C5C7AC-5581-4595-9269-BFD9D6D7BD46}" dt="2025-04-08T13:39:44.831" v="754"/>
        <pc:sldMkLst>
          <pc:docMk/>
          <pc:sldMk cId="1958191667" sldId="2145705825"/>
        </pc:sldMkLst>
      </pc:sldChg>
      <pc:sldChg chg="del">
        <pc:chgData name="Miguel A. Rubiano" userId="5de3eca7-df65-45ab-9fac-21fe3414869d" providerId="ADAL" clId="{E7C5C7AC-5581-4595-9269-BFD9D6D7BD46}" dt="2025-04-08T13:38:53.356" v="749"/>
        <pc:sldMkLst>
          <pc:docMk/>
          <pc:sldMk cId="1127370420" sldId="2145705826"/>
        </pc:sldMkLst>
      </pc:sldChg>
      <pc:sldChg chg="addSp delSp modSp add mod ord">
        <pc:chgData name="Miguel A. Rubiano" userId="5de3eca7-df65-45ab-9fac-21fe3414869d" providerId="ADAL" clId="{E7C5C7AC-5581-4595-9269-BFD9D6D7BD46}" dt="2025-04-08T14:43:50.432" v="1003" actId="6549"/>
        <pc:sldMkLst>
          <pc:docMk/>
          <pc:sldMk cId="2440363482" sldId="2145705826"/>
        </pc:sldMkLst>
      </pc:sldChg>
      <pc:sldChg chg="del">
        <pc:chgData name="Miguel A. Rubiano" userId="5de3eca7-df65-45ab-9fac-21fe3414869d" providerId="ADAL" clId="{E7C5C7AC-5581-4595-9269-BFD9D6D7BD46}" dt="2025-04-08T13:39:12.603" v="750" actId="47"/>
        <pc:sldMkLst>
          <pc:docMk/>
          <pc:sldMk cId="3856456991" sldId="2145705826"/>
        </pc:sldMkLst>
      </pc:sldChg>
      <pc:sldChg chg="addSp delSp modSp add mod">
        <pc:chgData name="Miguel A. Rubiano" userId="5de3eca7-df65-45ab-9fac-21fe3414869d" providerId="ADAL" clId="{E7C5C7AC-5581-4595-9269-BFD9D6D7BD46}" dt="2025-04-08T14:44:18.667" v="1006" actId="255"/>
        <pc:sldMkLst>
          <pc:docMk/>
          <pc:sldMk cId="1543593803" sldId="2145705827"/>
        </pc:sldMkLst>
      </pc:sldChg>
    </pc:docChg>
  </pc:docChgLst>
  <pc:docChgLst>
    <pc:chgData name="Hamilton Rodriguez" userId="f71b9de3-2009-44e3-9598-cd76df76ca85" providerId="ADAL" clId="{5049A158-7AE1-42E5-BE5F-2F249479F89C}"/>
    <pc:docChg chg="undo custSel addSld delSld modSld sldOrd">
      <pc:chgData name="Hamilton Rodriguez" userId="f71b9de3-2009-44e3-9598-cd76df76ca85" providerId="ADAL" clId="{5049A158-7AE1-42E5-BE5F-2F249479F89C}" dt="2025-10-01T15:00:59.183" v="575" actId="1076"/>
      <pc:docMkLst>
        <pc:docMk/>
      </pc:docMkLst>
      <pc:sldChg chg="delSp modSp mod">
        <pc:chgData name="Hamilton Rodriguez" userId="f71b9de3-2009-44e3-9598-cd76df76ca85" providerId="ADAL" clId="{5049A158-7AE1-42E5-BE5F-2F249479F89C}" dt="2025-10-01T13:47:20.682" v="72" actId="1076"/>
        <pc:sldMkLst>
          <pc:docMk/>
          <pc:sldMk cId="857024924" sldId="275"/>
        </pc:sldMkLst>
        <pc:spChg chg="mod">
          <ac:chgData name="Hamilton Rodriguez" userId="f71b9de3-2009-44e3-9598-cd76df76ca85" providerId="ADAL" clId="{5049A158-7AE1-42E5-BE5F-2F249479F89C}" dt="2025-10-01T13:47:20.682" v="72" actId="1076"/>
          <ac:spMkLst>
            <pc:docMk/>
            <pc:sldMk cId="857024924" sldId="275"/>
            <ac:spMk id="3" creationId="{2365F299-A0A7-AC31-1B81-182831664551}"/>
          </ac:spMkLst>
        </pc:spChg>
        <pc:spChg chg="del mod">
          <ac:chgData name="Hamilton Rodriguez" userId="f71b9de3-2009-44e3-9598-cd76df76ca85" providerId="ADAL" clId="{5049A158-7AE1-42E5-BE5F-2F249479F89C}" dt="2025-10-01T10:13:40.300" v="59" actId="478"/>
          <ac:spMkLst>
            <pc:docMk/>
            <pc:sldMk cId="857024924" sldId="275"/>
            <ac:spMk id="5" creationId="{A645BF7B-5E89-18FD-5DD3-C262E7EB9D88}"/>
          </ac:spMkLst>
        </pc:spChg>
      </pc:sldChg>
      <pc:sldChg chg="addSp delSp modSp mod">
        <pc:chgData name="Hamilton Rodriguez" userId="f71b9de3-2009-44e3-9598-cd76df76ca85" providerId="ADAL" clId="{5049A158-7AE1-42E5-BE5F-2F249479F89C}" dt="2025-10-01T10:15:06.740" v="62" actId="1076"/>
        <pc:sldMkLst>
          <pc:docMk/>
          <pc:sldMk cId="138811212" sldId="2145705832"/>
        </pc:sldMkLst>
        <pc:picChg chg="del">
          <ac:chgData name="Hamilton Rodriguez" userId="f71b9de3-2009-44e3-9598-cd76df76ca85" providerId="ADAL" clId="{5049A158-7AE1-42E5-BE5F-2F249479F89C}" dt="2025-10-01T10:14:28.997" v="60" actId="478"/>
          <ac:picMkLst>
            <pc:docMk/>
            <pc:sldMk cId="138811212" sldId="2145705832"/>
            <ac:picMk id="3" creationId="{D051071F-5232-3ECE-17EC-2AEA87C61E67}"/>
          </ac:picMkLst>
        </pc:picChg>
        <pc:picChg chg="add mod">
          <ac:chgData name="Hamilton Rodriguez" userId="f71b9de3-2009-44e3-9598-cd76df76ca85" providerId="ADAL" clId="{5049A158-7AE1-42E5-BE5F-2F249479F89C}" dt="2025-10-01T10:15:06.740" v="62" actId="1076"/>
          <ac:picMkLst>
            <pc:docMk/>
            <pc:sldMk cId="138811212" sldId="2145705832"/>
            <ac:picMk id="7" creationId="{3323406F-7D8F-EDB0-8384-80D95C985D8B}"/>
          </ac:picMkLst>
        </pc:picChg>
      </pc:sldChg>
      <pc:sldChg chg="add del">
        <pc:chgData name="Hamilton Rodriguez" userId="f71b9de3-2009-44e3-9598-cd76df76ca85" providerId="ADAL" clId="{5049A158-7AE1-42E5-BE5F-2F249479F89C}" dt="2025-10-01T14:40:53.205" v="498" actId="47"/>
        <pc:sldMkLst>
          <pc:docMk/>
          <pc:sldMk cId="1576575548" sldId="2145705836"/>
        </pc:sldMkLst>
      </pc:sldChg>
      <pc:sldChg chg="del">
        <pc:chgData name="Hamilton Rodriguez" userId="f71b9de3-2009-44e3-9598-cd76df76ca85" providerId="ADAL" clId="{5049A158-7AE1-42E5-BE5F-2F249479F89C}" dt="2025-10-01T14:41:01.432" v="503" actId="47"/>
        <pc:sldMkLst>
          <pc:docMk/>
          <pc:sldMk cId="2132975493" sldId="2145705859"/>
        </pc:sldMkLst>
      </pc:sldChg>
      <pc:sldChg chg="del">
        <pc:chgData name="Hamilton Rodriguez" userId="f71b9de3-2009-44e3-9598-cd76df76ca85" providerId="ADAL" clId="{5049A158-7AE1-42E5-BE5F-2F249479F89C}" dt="2025-10-01T14:40:59.034" v="502" actId="47"/>
        <pc:sldMkLst>
          <pc:docMk/>
          <pc:sldMk cId="1577805932" sldId="2145705860"/>
        </pc:sldMkLst>
      </pc:sldChg>
      <pc:sldChg chg="del">
        <pc:chgData name="Hamilton Rodriguez" userId="f71b9de3-2009-44e3-9598-cd76df76ca85" providerId="ADAL" clId="{5049A158-7AE1-42E5-BE5F-2F249479F89C}" dt="2025-10-01T14:40:55.746" v="500" actId="47"/>
        <pc:sldMkLst>
          <pc:docMk/>
          <pc:sldMk cId="2821006872" sldId="2145705861"/>
        </pc:sldMkLst>
      </pc:sldChg>
      <pc:sldChg chg="del">
        <pc:chgData name="Hamilton Rodriguez" userId="f71b9de3-2009-44e3-9598-cd76df76ca85" providerId="ADAL" clId="{5049A158-7AE1-42E5-BE5F-2F249479F89C}" dt="2025-10-01T14:40:57.271" v="501" actId="47"/>
        <pc:sldMkLst>
          <pc:docMk/>
          <pc:sldMk cId="2333665196" sldId="2145705863"/>
        </pc:sldMkLst>
      </pc:sldChg>
      <pc:sldChg chg="del">
        <pc:chgData name="Hamilton Rodriguez" userId="f71b9de3-2009-44e3-9598-cd76df76ca85" providerId="ADAL" clId="{5049A158-7AE1-42E5-BE5F-2F249479F89C}" dt="2025-10-01T14:40:54.123" v="499" actId="47"/>
        <pc:sldMkLst>
          <pc:docMk/>
          <pc:sldMk cId="785341915" sldId="2145705864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3581387757" sldId="2145705865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1546539351" sldId="2145705866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259963827" sldId="2145705867"/>
        </pc:sldMkLst>
      </pc:sldChg>
      <pc:sldChg chg="del">
        <pc:chgData name="Hamilton Rodriguez" userId="f71b9de3-2009-44e3-9598-cd76df76ca85" providerId="ADAL" clId="{5049A158-7AE1-42E5-BE5F-2F249479F89C}" dt="2025-10-01T14:41:06.054" v="504" actId="47"/>
        <pc:sldMkLst>
          <pc:docMk/>
          <pc:sldMk cId="4000256887" sldId="2145705868"/>
        </pc:sldMkLst>
      </pc:sldChg>
      <pc:sldChg chg="addSp delSp modSp add mod ord">
        <pc:chgData name="Hamilton Rodriguez" userId="f71b9de3-2009-44e3-9598-cd76df76ca85" providerId="ADAL" clId="{5049A158-7AE1-42E5-BE5F-2F249479F89C}" dt="2025-10-01T14:00:54.107" v="281" actId="20577"/>
        <pc:sldMkLst>
          <pc:docMk/>
          <pc:sldMk cId="3554623742" sldId="2145705869"/>
        </pc:sldMkLst>
        <pc:spChg chg="mod">
          <ac:chgData name="Hamilton Rodriguez" userId="f71b9de3-2009-44e3-9598-cd76df76ca85" providerId="ADAL" clId="{5049A158-7AE1-42E5-BE5F-2F249479F89C}" dt="2025-10-01T13:49:14.258" v="145" actId="20577"/>
          <ac:spMkLst>
            <pc:docMk/>
            <pc:sldMk cId="3554623742" sldId="2145705869"/>
            <ac:spMk id="6" creationId="{4F8A1728-E059-666D-DCA5-6A2BD61D717B}"/>
          </ac:spMkLst>
        </pc:spChg>
        <pc:spChg chg="add del mod">
          <ac:chgData name="Hamilton Rodriguez" userId="f71b9de3-2009-44e3-9598-cd76df76ca85" providerId="ADAL" clId="{5049A158-7AE1-42E5-BE5F-2F249479F89C}" dt="2025-10-01T13:58:46.973" v="152"/>
          <ac:spMkLst>
            <pc:docMk/>
            <pc:sldMk cId="3554623742" sldId="2145705869"/>
            <ac:spMk id="8" creationId="{B9CF69F9-4665-E1CA-3826-B2A0DE8476EC}"/>
          </ac:spMkLst>
        </pc:spChg>
        <pc:spChg chg="del">
          <ac:chgData name="Hamilton Rodriguez" userId="f71b9de3-2009-44e3-9598-cd76df76ca85" providerId="ADAL" clId="{5049A158-7AE1-42E5-BE5F-2F249479F89C}" dt="2025-10-01T13:48:14.757" v="75" actId="478"/>
          <ac:spMkLst>
            <pc:docMk/>
            <pc:sldMk cId="3554623742" sldId="2145705869"/>
            <ac:spMk id="9" creationId="{BC7E707D-588D-B058-A390-8661DFF10F6C}"/>
          </ac:spMkLst>
        </pc:spChg>
        <pc:spChg chg="add mod">
          <ac:chgData name="Hamilton Rodriguez" userId="f71b9de3-2009-44e3-9598-cd76df76ca85" providerId="ADAL" clId="{5049A158-7AE1-42E5-BE5F-2F249479F89C}" dt="2025-10-01T14:00:54.107" v="281" actId="20577"/>
          <ac:spMkLst>
            <pc:docMk/>
            <pc:sldMk cId="3554623742" sldId="2145705869"/>
            <ac:spMk id="10" creationId="{66DCE60A-9694-E014-3757-9996F4C0F06A}"/>
          </ac:spMkLst>
        </pc:spChg>
        <pc:picChg chg="del">
          <ac:chgData name="Hamilton Rodriguez" userId="f71b9de3-2009-44e3-9598-cd76df76ca85" providerId="ADAL" clId="{5049A158-7AE1-42E5-BE5F-2F249479F89C}" dt="2025-10-01T13:48:12.073" v="74" actId="478"/>
          <ac:picMkLst>
            <pc:docMk/>
            <pc:sldMk cId="3554623742" sldId="2145705869"/>
            <ac:picMk id="2" creationId="{16C14E59-D4BD-BC53-7F3F-32CDA0DEB8C0}"/>
          </ac:picMkLst>
        </pc:picChg>
        <pc:picChg chg="add mod">
          <ac:chgData name="Hamilton Rodriguez" userId="f71b9de3-2009-44e3-9598-cd76df76ca85" providerId="ADAL" clId="{5049A158-7AE1-42E5-BE5F-2F249479F89C}" dt="2025-10-01T13:57:39.321" v="148" actId="1076"/>
          <ac:picMkLst>
            <pc:docMk/>
            <pc:sldMk cId="3554623742" sldId="2145705869"/>
            <ac:picMk id="7" creationId="{6C12BA09-A935-AF1A-8D95-95175596E1B9}"/>
          </ac:picMkLst>
        </pc:picChg>
      </pc:sldChg>
      <pc:sldChg chg="add del">
        <pc:chgData name="Hamilton Rodriguez" userId="f71b9de3-2009-44e3-9598-cd76df76ca85" providerId="ADAL" clId="{5049A158-7AE1-42E5-BE5F-2F249479F89C}" dt="2025-10-01T14:01:53.215" v="285" actId="47"/>
        <pc:sldMkLst>
          <pc:docMk/>
          <pc:sldMk cId="3996450013" sldId="2145705870"/>
        </pc:sldMkLst>
      </pc:sldChg>
      <pc:sldChg chg="add del">
        <pc:chgData name="Hamilton Rodriguez" userId="f71b9de3-2009-44e3-9598-cd76df76ca85" providerId="ADAL" clId="{5049A158-7AE1-42E5-BE5F-2F249479F89C}" dt="2025-10-01T14:01:54.316" v="286" actId="47"/>
        <pc:sldMkLst>
          <pc:docMk/>
          <pc:sldMk cId="2008032866" sldId="2145705871"/>
        </pc:sldMkLst>
      </pc:sldChg>
      <pc:sldChg chg="addSp delSp modSp add mod">
        <pc:chgData name="Hamilton Rodriguez" userId="f71b9de3-2009-44e3-9598-cd76df76ca85" providerId="ADAL" clId="{5049A158-7AE1-42E5-BE5F-2F249479F89C}" dt="2025-10-01T14:19:54.560" v="399" actId="14100"/>
        <pc:sldMkLst>
          <pc:docMk/>
          <pc:sldMk cId="316477145" sldId="2145705872"/>
        </pc:sldMkLst>
        <pc:spChg chg="mod">
          <ac:chgData name="Hamilton Rodriguez" userId="f71b9de3-2009-44e3-9598-cd76df76ca85" providerId="ADAL" clId="{5049A158-7AE1-42E5-BE5F-2F249479F89C}" dt="2025-10-01T14:03:31.463" v="299" actId="20577"/>
          <ac:spMkLst>
            <pc:docMk/>
            <pc:sldMk cId="316477145" sldId="2145705872"/>
            <ac:spMk id="6" creationId="{D26D5D81-A7D0-7E7E-E5B1-8FAB87B5EDA8}"/>
          </ac:spMkLst>
        </pc:spChg>
        <pc:spChg chg="del">
          <ac:chgData name="Hamilton Rodriguez" userId="f71b9de3-2009-44e3-9598-cd76df76ca85" providerId="ADAL" clId="{5049A158-7AE1-42E5-BE5F-2F249479F89C}" dt="2025-10-01T14:01:51.119" v="284" actId="478"/>
          <ac:spMkLst>
            <pc:docMk/>
            <pc:sldMk cId="316477145" sldId="2145705872"/>
            <ac:spMk id="10" creationId="{7D51A42E-9348-9631-1A3D-97C7A775F2C8}"/>
          </ac:spMkLst>
        </pc:spChg>
        <pc:picChg chg="add mod">
          <ac:chgData name="Hamilton Rodriguez" userId="f71b9de3-2009-44e3-9598-cd76df76ca85" providerId="ADAL" clId="{5049A158-7AE1-42E5-BE5F-2F249479F89C}" dt="2025-10-01T14:19:49.310" v="397" actId="14100"/>
          <ac:picMkLst>
            <pc:docMk/>
            <pc:sldMk cId="316477145" sldId="2145705872"/>
            <ac:picMk id="3" creationId="{CDB71152-E637-DFEC-D14F-1E3AD4009DC0}"/>
          </ac:picMkLst>
        </pc:picChg>
        <pc:picChg chg="del">
          <ac:chgData name="Hamilton Rodriguez" userId="f71b9de3-2009-44e3-9598-cd76df76ca85" providerId="ADAL" clId="{5049A158-7AE1-42E5-BE5F-2F249479F89C}" dt="2025-10-01T14:01:49.517" v="283" actId="478"/>
          <ac:picMkLst>
            <pc:docMk/>
            <pc:sldMk cId="316477145" sldId="2145705872"/>
            <ac:picMk id="7" creationId="{C9354994-806F-F424-BF6F-E7C9793A98B9}"/>
          </ac:picMkLst>
        </pc:picChg>
        <pc:picChg chg="add mod">
          <ac:chgData name="Hamilton Rodriguez" userId="f71b9de3-2009-44e3-9598-cd76df76ca85" providerId="ADAL" clId="{5049A158-7AE1-42E5-BE5F-2F249479F89C}" dt="2025-10-01T14:19:52.225" v="398" actId="14100"/>
          <ac:picMkLst>
            <pc:docMk/>
            <pc:sldMk cId="316477145" sldId="2145705872"/>
            <ac:picMk id="9" creationId="{8B9FBFE4-7365-7ABA-9DD4-DA3AA10E3EC9}"/>
          </ac:picMkLst>
        </pc:picChg>
        <pc:picChg chg="add mod">
          <ac:chgData name="Hamilton Rodriguez" userId="f71b9de3-2009-44e3-9598-cd76df76ca85" providerId="ADAL" clId="{5049A158-7AE1-42E5-BE5F-2F249479F89C}" dt="2025-10-01T14:19:54.560" v="399" actId="14100"/>
          <ac:picMkLst>
            <pc:docMk/>
            <pc:sldMk cId="316477145" sldId="2145705872"/>
            <ac:picMk id="12" creationId="{C2E3AC1C-BCA5-7CCB-2885-0C1C0C5265DE}"/>
          </ac:picMkLst>
        </pc:picChg>
      </pc:sldChg>
      <pc:sldChg chg="addSp modSp add mod ord">
        <pc:chgData name="Hamilton Rodriguez" userId="f71b9de3-2009-44e3-9598-cd76df76ca85" providerId="ADAL" clId="{5049A158-7AE1-42E5-BE5F-2F249479F89C}" dt="2025-10-01T14:11:33.474" v="327" actId="1076"/>
        <pc:sldMkLst>
          <pc:docMk/>
          <pc:sldMk cId="2743623247" sldId="2145705873"/>
        </pc:sldMkLst>
        <pc:picChg chg="add mod">
          <ac:chgData name="Hamilton Rodriguez" userId="f71b9de3-2009-44e3-9598-cd76df76ca85" providerId="ADAL" clId="{5049A158-7AE1-42E5-BE5F-2F249479F89C}" dt="2025-10-01T14:11:33.474" v="327" actId="1076"/>
          <ac:picMkLst>
            <pc:docMk/>
            <pc:sldMk cId="2743623247" sldId="2145705873"/>
            <ac:picMk id="2" creationId="{53DB9508-1CBE-BDC6-F681-F8F1F22C5F44}"/>
          </ac:picMkLst>
        </pc:picChg>
        <pc:picChg chg="add mod">
          <ac:chgData name="Hamilton Rodriguez" userId="f71b9de3-2009-44e3-9598-cd76df76ca85" providerId="ADAL" clId="{5049A158-7AE1-42E5-BE5F-2F249479F89C}" dt="2025-10-01T14:11:31.874" v="326" actId="1076"/>
          <ac:picMkLst>
            <pc:docMk/>
            <pc:sldMk cId="2743623247" sldId="2145705873"/>
            <ac:picMk id="7" creationId="{9B2680A5-E15B-0AAF-5889-CE56CAEF8CC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1:05.525" v="417" actId="1076"/>
        <pc:sldMkLst>
          <pc:docMk/>
          <pc:sldMk cId="1915884282" sldId="2145705874"/>
        </pc:sldMkLst>
        <pc:spChg chg="mod">
          <ac:chgData name="Hamilton Rodriguez" userId="f71b9de3-2009-44e3-9598-cd76df76ca85" providerId="ADAL" clId="{5049A158-7AE1-42E5-BE5F-2F249479F89C}" dt="2025-10-01T14:20:07.970" v="411" actId="20577"/>
          <ac:spMkLst>
            <pc:docMk/>
            <pc:sldMk cId="1915884282" sldId="2145705874"/>
            <ac:spMk id="6" creationId="{A59299E3-B56B-DE36-076B-FBE286BBAFB9}"/>
          </ac:spMkLst>
        </pc:spChg>
        <pc:picChg chg="add mod">
          <ac:chgData name="Hamilton Rodriguez" userId="f71b9de3-2009-44e3-9598-cd76df76ca85" providerId="ADAL" clId="{5049A158-7AE1-42E5-BE5F-2F249479F89C}" dt="2025-10-01T14:21:05.525" v="417" actId="1076"/>
          <ac:picMkLst>
            <pc:docMk/>
            <pc:sldMk cId="1915884282" sldId="2145705874"/>
            <ac:picMk id="2" creationId="{7A2E229E-1F58-CA19-5EB0-D47128A79DE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1:26.231" v="515" actId="1076"/>
        <pc:sldMkLst>
          <pc:docMk/>
          <pc:sldMk cId="674513922" sldId="2145705875"/>
        </pc:sldMkLst>
        <pc:spChg chg="mod">
          <ac:chgData name="Hamilton Rodriguez" userId="f71b9de3-2009-44e3-9598-cd76df76ca85" providerId="ADAL" clId="{5049A158-7AE1-42E5-BE5F-2F249479F89C}" dt="2025-10-01T14:41:13.928" v="512" actId="20577"/>
          <ac:spMkLst>
            <pc:docMk/>
            <pc:sldMk cId="674513922" sldId="2145705875"/>
            <ac:spMk id="6" creationId="{AD320172-CB6A-F234-13DD-63EA540FB7A8}"/>
          </ac:spMkLst>
        </pc:spChg>
        <pc:picChg chg="add mod">
          <ac:chgData name="Hamilton Rodriguez" userId="f71b9de3-2009-44e3-9598-cd76df76ca85" providerId="ADAL" clId="{5049A158-7AE1-42E5-BE5F-2F249479F89C}" dt="2025-10-01T14:41:26.231" v="515" actId="1076"/>
          <ac:picMkLst>
            <pc:docMk/>
            <pc:sldMk cId="674513922" sldId="2145705875"/>
            <ac:picMk id="2" creationId="{73653FA4-9B5D-3C63-CA3A-CBB3A0348972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5:47.887" v="458" actId="1076"/>
        <pc:sldMkLst>
          <pc:docMk/>
          <pc:sldMk cId="2664628146" sldId="2145705876"/>
        </pc:sldMkLst>
        <pc:picChg chg="add del mod">
          <ac:chgData name="Hamilton Rodriguez" userId="f71b9de3-2009-44e3-9598-cd76df76ca85" providerId="ADAL" clId="{5049A158-7AE1-42E5-BE5F-2F249479F89C}" dt="2025-10-01T14:35:28.843" v="452" actId="478"/>
          <ac:picMkLst>
            <pc:docMk/>
            <pc:sldMk cId="2664628146" sldId="2145705876"/>
            <ac:picMk id="2" creationId="{B4DE3D9A-AB09-090A-E45F-BF2944E66286}"/>
          </ac:picMkLst>
        </pc:picChg>
        <pc:picChg chg="add mod">
          <ac:chgData name="Hamilton Rodriguez" userId="f71b9de3-2009-44e3-9598-cd76df76ca85" providerId="ADAL" clId="{5049A158-7AE1-42E5-BE5F-2F249479F89C}" dt="2025-10-01T14:35:47.887" v="458" actId="1076"/>
          <ac:picMkLst>
            <pc:docMk/>
            <pc:sldMk cId="2664628146" sldId="2145705876"/>
            <ac:picMk id="7" creationId="{C4E59D06-7FE3-D85B-8A76-D0D81FBD9F04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28:00.396" v="446" actId="1076"/>
        <pc:sldMkLst>
          <pc:docMk/>
          <pc:sldMk cId="131515944" sldId="2145705877"/>
        </pc:sldMkLst>
        <pc:spChg chg="mod">
          <ac:chgData name="Hamilton Rodriguez" userId="f71b9de3-2009-44e3-9598-cd76df76ca85" providerId="ADAL" clId="{5049A158-7AE1-42E5-BE5F-2F249479F89C}" dt="2025-10-01T14:27:20.720" v="438" actId="20577"/>
          <ac:spMkLst>
            <pc:docMk/>
            <pc:sldMk cId="131515944" sldId="2145705877"/>
            <ac:spMk id="6" creationId="{6F774F55-A4ED-C293-1B19-A486062EF15B}"/>
          </ac:spMkLst>
        </pc:spChg>
        <pc:picChg chg="add mod">
          <ac:chgData name="Hamilton Rodriguez" userId="f71b9de3-2009-44e3-9598-cd76df76ca85" providerId="ADAL" clId="{5049A158-7AE1-42E5-BE5F-2F249479F89C}" dt="2025-10-01T14:28:00.396" v="446" actId="1076"/>
          <ac:picMkLst>
            <pc:docMk/>
            <pc:sldMk cId="131515944" sldId="2145705877"/>
            <ac:picMk id="2" creationId="{E2A2C3C1-E980-4FA2-CEA1-29779E34C19E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2:24.899" v="525" actId="1076"/>
        <pc:sldMkLst>
          <pc:docMk/>
          <pc:sldMk cId="646120208" sldId="2145705878"/>
        </pc:sldMkLst>
        <pc:spChg chg="mod">
          <ac:chgData name="Hamilton Rodriguez" userId="f71b9de3-2009-44e3-9598-cd76df76ca85" providerId="ADAL" clId="{5049A158-7AE1-42E5-BE5F-2F249479F89C}" dt="2025-10-01T14:38:34.797" v="497" actId="20577"/>
          <ac:spMkLst>
            <pc:docMk/>
            <pc:sldMk cId="646120208" sldId="2145705878"/>
            <ac:spMk id="6" creationId="{CE20BEAF-5275-1218-60B4-21520A8991AA}"/>
          </ac:spMkLst>
        </pc:spChg>
        <pc:picChg chg="add mod">
          <ac:chgData name="Hamilton Rodriguez" userId="f71b9de3-2009-44e3-9598-cd76df76ca85" providerId="ADAL" clId="{5049A158-7AE1-42E5-BE5F-2F249479F89C}" dt="2025-10-01T14:42:24.899" v="525" actId="1076"/>
          <ac:picMkLst>
            <pc:docMk/>
            <pc:sldMk cId="646120208" sldId="2145705878"/>
            <ac:picMk id="3" creationId="{560EE6AF-AB60-2CCC-5F1B-E2FA1312917A}"/>
          </ac:picMkLst>
        </pc:picChg>
      </pc:sldChg>
      <pc:sldChg chg="addSp delSp modSp add mod">
        <pc:chgData name="Hamilton Rodriguez" userId="f71b9de3-2009-44e3-9598-cd76df76ca85" providerId="ADAL" clId="{5049A158-7AE1-42E5-BE5F-2F249479F89C}" dt="2025-10-01T14:36:14.706" v="471" actId="14100"/>
        <pc:sldMkLst>
          <pc:docMk/>
          <pc:sldMk cId="1171858839" sldId="2145705879"/>
        </pc:sldMkLst>
        <pc:picChg chg="del">
          <ac:chgData name="Hamilton Rodriguez" userId="f71b9de3-2009-44e3-9598-cd76df76ca85" providerId="ADAL" clId="{5049A158-7AE1-42E5-BE5F-2F249479F89C}" dt="2025-10-01T14:28:15.901" v="448" actId="478"/>
          <ac:picMkLst>
            <pc:docMk/>
            <pc:sldMk cId="1171858839" sldId="2145705879"/>
            <ac:picMk id="2" creationId="{A4CF32CE-3C34-76BA-C05C-E0745D983BCD}"/>
          </ac:picMkLst>
        </pc:picChg>
        <pc:picChg chg="add mod">
          <ac:chgData name="Hamilton Rodriguez" userId="f71b9de3-2009-44e3-9598-cd76df76ca85" providerId="ADAL" clId="{5049A158-7AE1-42E5-BE5F-2F249479F89C}" dt="2025-10-01T14:36:14.706" v="471" actId="14100"/>
          <ac:picMkLst>
            <pc:docMk/>
            <pc:sldMk cId="1171858839" sldId="2145705879"/>
            <ac:picMk id="3" creationId="{D54BC5FA-4ACF-E15E-8809-2DF2652BF3C8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4:09.343" v="540" actId="1037"/>
        <pc:sldMkLst>
          <pc:docMk/>
          <pc:sldMk cId="3498508999" sldId="2145705880"/>
        </pc:sldMkLst>
        <pc:picChg chg="add mod">
          <ac:chgData name="Hamilton Rodriguez" userId="f71b9de3-2009-44e3-9598-cd76df76ca85" providerId="ADAL" clId="{5049A158-7AE1-42E5-BE5F-2F249479F89C}" dt="2025-10-01T14:44:09.343" v="540" actId="1037"/>
          <ac:picMkLst>
            <pc:docMk/>
            <pc:sldMk cId="3498508999" sldId="2145705880"/>
            <ac:picMk id="3" creationId="{25B432B3-F89A-F19C-93F2-AA6EB808BA4F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5:06.910" v="544" actId="1076"/>
        <pc:sldMkLst>
          <pc:docMk/>
          <pc:sldMk cId="3510968189" sldId="2145705881"/>
        </pc:sldMkLst>
        <pc:picChg chg="add mod">
          <ac:chgData name="Hamilton Rodriguez" userId="f71b9de3-2009-44e3-9598-cd76df76ca85" providerId="ADAL" clId="{5049A158-7AE1-42E5-BE5F-2F249479F89C}" dt="2025-10-01T14:45:06.910" v="544" actId="1076"/>
          <ac:picMkLst>
            <pc:docMk/>
            <pc:sldMk cId="3510968189" sldId="2145705881"/>
            <ac:picMk id="3" creationId="{306E250E-FD29-8BE7-DD01-362719B0BB3C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6:25.773" v="553" actId="1076"/>
        <pc:sldMkLst>
          <pc:docMk/>
          <pc:sldMk cId="129961816" sldId="2145705882"/>
        </pc:sldMkLst>
        <pc:picChg chg="add mod">
          <ac:chgData name="Hamilton Rodriguez" userId="f71b9de3-2009-44e3-9598-cd76df76ca85" providerId="ADAL" clId="{5049A158-7AE1-42E5-BE5F-2F249479F89C}" dt="2025-10-01T14:46:25.773" v="553" actId="1076"/>
          <ac:picMkLst>
            <pc:docMk/>
            <pc:sldMk cId="129961816" sldId="2145705882"/>
            <ac:picMk id="3" creationId="{4BB9865F-F406-2D83-6A07-4F853F3FF099}"/>
          </ac:picMkLst>
        </pc:picChg>
      </pc:sldChg>
      <pc:sldChg chg="addSp modSp add mod">
        <pc:chgData name="Hamilton Rodriguez" userId="f71b9de3-2009-44e3-9598-cd76df76ca85" providerId="ADAL" clId="{5049A158-7AE1-42E5-BE5F-2F249479F89C}" dt="2025-10-01T14:49:00.121" v="558" actId="1076"/>
        <pc:sldMkLst>
          <pc:docMk/>
          <pc:sldMk cId="2099713685" sldId="2145705883"/>
        </pc:sldMkLst>
        <pc:picChg chg="add mod">
          <ac:chgData name="Hamilton Rodriguez" userId="f71b9de3-2009-44e3-9598-cd76df76ca85" providerId="ADAL" clId="{5049A158-7AE1-42E5-BE5F-2F249479F89C}" dt="2025-10-01T14:49:00.121" v="558" actId="1076"/>
          <ac:picMkLst>
            <pc:docMk/>
            <pc:sldMk cId="2099713685" sldId="2145705883"/>
            <ac:picMk id="3" creationId="{657699EF-67D6-2DE5-BAE6-DFE4FBADFC99}"/>
          </ac:picMkLst>
        </pc:picChg>
      </pc:sldChg>
      <pc:sldChg chg="add del">
        <pc:chgData name="Hamilton Rodriguez" userId="f71b9de3-2009-44e3-9598-cd76df76ca85" providerId="ADAL" clId="{5049A158-7AE1-42E5-BE5F-2F249479F89C}" dt="2025-10-01T14:49:21.973" v="559" actId="47"/>
        <pc:sldMkLst>
          <pc:docMk/>
          <pc:sldMk cId="1708149482" sldId="2145705884"/>
        </pc:sldMkLst>
      </pc:sldChg>
      <pc:sldChg chg="add del">
        <pc:chgData name="Hamilton Rodriguez" userId="f71b9de3-2009-44e3-9598-cd76df76ca85" providerId="ADAL" clId="{5049A158-7AE1-42E5-BE5F-2F249479F89C}" dt="2025-10-01T14:49:39.972" v="561" actId="47"/>
        <pc:sldMkLst>
          <pc:docMk/>
          <pc:sldMk cId="1511331099" sldId="2145705885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1646860996" sldId="2145705886"/>
        </pc:sldMkLst>
      </pc:sldChg>
      <pc:sldChg chg="add">
        <pc:chgData name="Hamilton Rodriguez" userId="f71b9de3-2009-44e3-9598-cd76df76ca85" providerId="ADAL" clId="{5049A158-7AE1-42E5-BE5F-2F249479F89C}" dt="2025-10-01T14:49:37.048" v="560"/>
        <pc:sldMkLst>
          <pc:docMk/>
          <pc:sldMk cId="360580690" sldId="2145705887"/>
        </pc:sldMkLst>
      </pc:sldChg>
      <pc:sldChg chg="addSp delSp modSp add mod">
        <pc:chgData name="Hamilton Rodriguez" userId="f71b9de3-2009-44e3-9598-cd76df76ca85" providerId="ADAL" clId="{5049A158-7AE1-42E5-BE5F-2F249479F89C}" dt="2025-10-01T15:00:59.183" v="575" actId="1076"/>
        <pc:sldMkLst>
          <pc:docMk/>
          <pc:sldMk cId="2320739176" sldId="2145705888"/>
        </pc:sldMkLst>
        <pc:spChg chg="mod">
          <ac:chgData name="Hamilton Rodriguez" userId="f71b9de3-2009-44e3-9598-cd76df76ca85" providerId="ADAL" clId="{5049A158-7AE1-42E5-BE5F-2F249479F89C}" dt="2025-10-01T14:50:02.496" v="569" actId="20577"/>
          <ac:spMkLst>
            <pc:docMk/>
            <pc:sldMk cId="2320739176" sldId="2145705888"/>
            <ac:spMk id="6" creationId="{F6334D3E-83DC-5D88-D943-C6ACF91A7837}"/>
          </ac:spMkLst>
        </pc:spChg>
        <pc:picChg chg="del">
          <ac:chgData name="Hamilton Rodriguez" userId="f71b9de3-2009-44e3-9598-cd76df76ca85" providerId="ADAL" clId="{5049A158-7AE1-42E5-BE5F-2F249479F89C}" dt="2025-10-01T14:50:04.770" v="570" actId="478"/>
          <ac:picMkLst>
            <pc:docMk/>
            <pc:sldMk cId="2320739176" sldId="2145705888"/>
            <ac:picMk id="2" creationId="{99FCCF18-F227-D208-AE2D-554EC2EBD23F}"/>
          </ac:picMkLst>
        </pc:picChg>
        <pc:picChg chg="add mod">
          <ac:chgData name="Hamilton Rodriguez" userId="f71b9de3-2009-44e3-9598-cd76df76ca85" providerId="ADAL" clId="{5049A158-7AE1-42E5-BE5F-2F249479F89C}" dt="2025-10-01T15:00:59.183" v="575" actId="1076"/>
          <ac:picMkLst>
            <pc:docMk/>
            <pc:sldMk cId="2320739176" sldId="2145705888"/>
            <ac:picMk id="7" creationId="{DACE87A1-2F93-0CC9-E4F2-4EF55A1B002B}"/>
          </ac:picMkLst>
        </pc:picChg>
      </pc:sldChg>
    </pc:docChg>
  </pc:docChgLst>
  <pc:docChgLst>
    <pc:chgData name="Hamilton Rodriguez" userId="f71b9de3-2009-44e3-9598-cd76df76ca85" providerId="ADAL" clId="{EF0A4D70-080F-41CE-9651-BDC94ECD3741}"/>
    <pc:docChg chg="addSld modSld">
      <pc:chgData name="Hamilton Rodriguez" userId="f71b9de3-2009-44e3-9598-cd76df76ca85" providerId="ADAL" clId="{EF0A4D70-080F-41CE-9651-BDC94ECD3741}" dt="2025-07-21T16:31:30.312" v="4"/>
      <pc:docMkLst>
        <pc:docMk/>
      </pc:docMkLst>
      <pc:sldChg chg="addSp">
        <pc:chgData name="Hamilton Rodriguez" userId="f71b9de3-2009-44e3-9598-cd76df76ca85" providerId="ADAL" clId="{EF0A4D70-080F-41CE-9651-BDC94ECD3741}" dt="2025-07-21T15:25:28.454" v="0"/>
        <pc:sldMkLst>
          <pc:docMk/>
          <pc:sldMk cId="857024924" sldId="275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1645612131" sldId="2145705828"/>
        </pc:sldMkLst>
      </pc:sldChg>
      <pc:sldChg chg="add setBg">
        <pc:chgData name="Hamilton Rodriguez" userId="f71b9de3-2009-44e3-9598-cd76df76ca85" providerId="ADAL" clId="{EF0A4D70-080F-41CE-9651-BDC94ECD3741}" dt="2025-07-21T15:29:30.665" v="1"/>
        <pc:sldMkLst>
          <pc:docMk/>
          <pc:sldMk cId="2158410841" sldId="2145705829"/>
        </pc:sldMkLst>
      </pc:sldChg>
      <pc:sldChg chg="add">
        <pc:chgData name="Hamilton Rodriguez" userId="f71b9de3-2009-44e3-9598-cd76df76ca85" providerId="ADAL" clId="{EF0A4D70-080F-41CE-9651-BDC94ECD3741}" dt="2025-07-21T16:30:59.567" v="2"/>
        <pc:sldMkLst>
          <pc:docMk/>
          <pc:sldMk cId="2643906840" sldId="2145705830"/>
        </pc:sldMkLst>
      </pc:sldChg>
      <pc:sldChg chg="add">
        <pc:chgData name="Hamilton Rodriguez" userId="f71b9de3-2009-44e3-9598-cd76df76ca85" providerId="ADAL" clId="{EF0A4D70-080F-41CE-9651-BDC94ECD3741}" dt="2025-07-21T16:31:29.595" v="3"/>
        <pc:sldMkLst>
          <pc:docMk/>
          <pc:sldMk cId="2479444405" sldId="2145705831"/>
        </pc:sldMkLst>
      </pc:sldChg>
      <pc:sldChg chg="add">
        <pc:chgData name="Hamilton Rodriguez" userId="f71b9de3-2009-44e3-9598-cd76df76ca85" providerId="ADAL" clId="{EF0A4D70-080F-41CE-9651-BDC94ECD3741}" dt="2025-07-21T16:31:30.312" v="4"/>
        <pc:sldMkLst>
          <pc:docMk/>
          <pc:sldMk cId="138811212" sldId="2145705832"/>
        </pc:sldMkLst>
      </pc:sldChg>
    </pc:docChg>
  </pc:docChgLst>
  <pc:docChgLst>
    <pc:chgData name="Cristian Garcia" userId="S::1802957@cwc.com::5e397fa2-8630-4b06-a080-b147e45b66cb" providerId="AD" clId="Web-{6DAFDD4D-1952-4668-B298-B6E3FCBFE0E3}"/>
    <pc:docChg chg="modSld">
      <pc:chgData name="Cristian Garcia" userId="S::1802957@cwc.com::5e397fa2-8630-4b06-a080-b147e45b66cb" providerId="AD" clId="Web-{6DAFDD4D-1952-4668-B298-B6E3FCBFE0E3}" dt="2025-04-07T20:52:04.303" v="59" actId="20577"/>
      <pc:docMkLst>
        <pc:docMk/>
      </pc:docMkLst>
      <pc:sldChg chg="modSp">
        <pc:chgData name="Cristian Garcia" userId="S::1802957@cwc.com::5e397fa2-8630-4b06-a080-b147e45b66cb" providerId="AD" clId="Web-{6DAFDD4D-1952-4668-B298-B6E3FCBFE0E3}" dt="2025-04-07T20:52:04.303" v="59" actId="20577"/>
        <pc:sldMkLst>
          <pc:docMk/>
          <pc:sldMk cId="2071833582" sldId="2145705806"/>
        </pc:sldMkLst>
      </pc:sldChg>
    </pc:docChg>
  </pc:docChgLst>
  <pc:docChgLst>
    <pc:chgData name="Hamilton Stewart Rodríguez Parra" userId="9d47022e6f4561a5" providerId="Windows Live" clId="Web-{CCC1721E-858A-60EF-50D6-03D0E87803AF}"/>
    <pc:docChg chg="addSld delSld modSld sldOrd">
      <pc:chgData name="Hamilton Stewart Rodríguez Parra" userId="9d47022e6f4561a5" providerId="Windows Live" clId="Web-{CCC1721E-858A-60EF-50D6-03D0E87803AF}" dt="2025-07-22T02:37:44.347" v="766" actId="1076"/>
      <pc:docMkLst>
        <pc:docMk/>
      </pc:docMkLst>
      <pc:sldChg chg="delSp add del">
        <pc:chgData name="Hamilton Stewart Rodríguez Parra" userId="9d47022e6f4561a5" providerId="Windows Live" clId="Web-{CCC1721E-858A-60EF-50D6-03D0E87803AF}" dt="2025-07-21T20:12:18.807" v="11"/>
        <pc:sldMkLst>
          <pc:docMk/>
          <pc:sldMk cId="2406273178" sldId="256"/>
        </pc:sldMkLst>
      </pc:sldChg>
      <pc:sldChg chg="modSp">
        <pc:chgData name="Hamilton Stewart Rodríguez Parra" userId="9d47022e6f4561a5" providerId="Windows Live" clId="Web-{CCC1721E-858A-60EF-50D6-03D0E87803AF}" dt="2025-07-22T02:22:09.679" v="638" actId="20577"/>
        <pc:sldMkLst>
          <pc:docMk/>
          <pc:sldMk cId="857024924" sldId="275"/>
        </pc:sldMkLst>
      </pc:sldChg>
      <pc:sldChg chg="del">
        <pc:chgData name="Hamilton Stewart Rodríguez Parra" userId="9d47022e6f4561a5" providerId="Windows Live" clId="Web-{CCC1721E-858A-60EF-50D6-03D0E87803AF}" dt="2025-07-22T02:23:12.585" v="660"/>
        <pc:sldMkLst>
          <pc:docMk/>
          <pc:sldMk cId="3364032398" sldId="2145705785"/>
        </pc:sldMkLst>
      </pc:sldChg>
      <pc:sldChg chg="del">
        <pc:chgData name="Hamilton Stewart Rodríguez Parra" userId="9d47022e6f4561a5" providerId="Windows Live" clId="Web-{CCC1721E-858A-60EF-50D6-03D0E87803AF}" dt="2025-07-22T02:22:49.039" v="640"/>
        <pc:sldMkLst>
          <pc:docMk/>
          <pc:sldMk cId="3104234136" sldId="2145705801"/>
        </pc:sldMkLst>
      </pc:sldChg>
      <pc:sldChg chg="del">
        <pc:chgData name="Hamilton Stewart Rodríguez Parra" userId="9d47022e6f4561a5" providerId="Windows Live" clId="Web-{CCC1721E-858A-60EF-50D6-03D0E87803AF}" dt="2025-07-22T02:22:52.273" v="642"/>
        <pc:sldMkLst>
          <pc:docMk/>
          <pc:sldMk cId="397526778" sldId="2145705802"/>
        </pc:sldMkLst>
      </pc:sldChg>
      <pc:sldChg chg="del">
        <pc:chgData name="Hamilton Stewart Rodríguez Parra" userId="9d47022e6f4561a5" providerId="Windows Live" clId="Web-{CCC1721E-858A-60EF-50D6-03D0E87803AF}" dt="2025-07-22T02:22:55.617" v="644"/>
        <pc:sldMkLst>
          <pc:docMk/>
          <pc:sldMk cId="2640578046" sldId="2145705803"/>
        </pc:sldMkLst>
      </pc:sldChg>
      <pc:sldChg chg="del">
        <pc:chgData name="Hamilton Stewart Rodríguez Parra" userId="9d47022e6f4561a5" providerId="Windows Live" clId="Web-{CCC1721E-858A-60EF-50D6-03D0E87803AF}" dt="2025-07-22T02:22:57.507" v="646"/>
        <pc:sldMkLst>
          <pc:docMk/>
          <pc:sldMk cId="2815638675" sldId="2145705804"/>
        </pc:sldMkLst>
      </pc:sldChg>
      <pc:sldChg chg="del">
        <pc:chgData name="Hamilton Stewart Rodríguez Parra" userId="9d47022e6f4561a5" providerId="Windows Live" clId="Web-{CCC1721E-858A-60EF-50D6-03D0E87803AF}" dt="2025-07-22T02:22:59.742" v="648"/>
        <pc:sldMkLst>
          <pc:docMk/>
          <pc:sldMk cId="2863693662" sldId="2145705805"/>
        </pc:sldMkLst>
      </pc:sldChg>
      <pc:sldChg chg="del">
        <pc:chgData name="Hamilton Stewart Rodríguez Parra" userId="9d47022e6f4561a5" providerId="Windows Live" clId="Web-{CCC1721E-858A-60EF-50D6-03D0E87803AF}" dt="2025-07-22T02:23:01.226" v="650"/>
        <pc:sldMkLst>
          <pc:docMk/>
          <pc:sldMk cId="2071833582" sldId="2145705806"/>
        </pc:sldMkLst>
      </pc:sldChg>
      <pc:sldChg chg="del">
        <pc:chgData name="Hamilton Stewart Rodríguez Parra" userId="9d47022e6f4561a5" providerId="Windows Live" clId="Web-{CCC1721E-858A-60EF-50D6-03D0E87803AF}" dt="2025-07-22T02:23:03.148" v="652"/>
        <pc:sldMkLst>
          <pc:docMk/>
          <pc:sldMk cId="3658824876" sldId="2145705807"/>
        </pc:sldMkLst>
      </pc:sldChg>
      <pc:sldChg chg="del">
        <pc:chgData name="Hamilton Stewart Rodríguez Parra" userId="9d47022e6f4561a5" providerId="Windows Live" clId="Web-{CCC1721E-858A-60EF-50D6-03D0E87803AF}" dt="2025-07-22T02:23:04.054" v="654"/>
        <pc:sldMkLst>
          <pc:docMk/>
          <pc:sldMk cId="904865137" sldId="2145705808"/>
        </pc:sldMkLst>
      </pc:sldChg>
      <pc:sldChg chg="del">
        <pc:chgData name="Hamilton Stewart Rodríguez Parra" userId="9d47022e6f4561a5" providerId="Windows Live" clId="Web-{CCC1721E-858A-60EF-50D6-03D0E87803AF}" dt="2025-07-22T02:23:05.507" v="656"/>
        <pc:sldMkLst>
          <pc:docMk/>
          <pc:sldMk cId="2372554428" sldId="2145705809"/>
        </pc:sldMkLst>
      </pc:sldChg>
      <pc:sldChg chg="del">
        <pc:chgData name="Hamilton Stewart Rodríguez Parra" userId="9d47022e6f4561a5" providerId="Windows Live" clId="Web-{CCC1721E-858A-60EF-50D6-03D0E87803AF}" dt="2025-07-22T02:22:47.367" v="639"/>
        <pc:sldMkLst>
          <pc:docMk/>
          <pc:sldMk cId="3237364529" sldId="2145705814"/>
        </pc:sldMkLst>
      </pc:sldChg>
      <pc:sldChg chg="del">
        <pc:chgData name="Hamilton Stewart Rodríguez Parra" userId="9d47022e6f4561a5" providerId="Windows Live" clId="Web-{CCC1721E-858A-60EF-50D6-03D0E87803AF}" dt="2025-07-22T02:22:52.257" v="641"/>
        <pc:sldMkLst>
          <pc:docMk/>
          <pc:sldMk cId="3494367151" sldId="2145705815"/>
        </pc:sldMkLst>
      </pc:sldChg>
      <pc:sldChg chg="del">
        <pc:chgData name="Hamilton Stewart Rodríguez Parra" userId="9d47022e6f4561a5" providerId="Windows Live" clId="Web-{CCC1721E-858A-60EF-50D6-03D0E87803AF}" dt="2025-07-22T02:22:55.132" v="643"/>
        <pc:sldMkLst>
          <pc:docMk/>
          <pc:sldMk cId="2010565102" sldId="2145705816"/>
        </pc:sldMkLst>
      </pc:sldChg>
      <pc:sldChg chg="del">
        <pc:chgData name="Hamilton Stewart Rodríguez Parra" userId="9d47022e6f4561a5" providerId="Windows Live" clId="Web-{CCC1721E-858A-60EF-50D6-03D0E87803AF}" dt="2025-07-22T02:22:56.539" v="645"/>
        <pc:sldMkLst>
          <pc:docMk/>
          <pc:sldMk cId="75812208" sldId="2145705817"/>
        </pc:sldMkLst>
      </pc:sldChg>
      <pc:sldChg chg="del">
        <pc:chgData name="Hamilton Stewart Rodríguez Parra" userId="9d47022e6f4561a5" providerId="Windows Live" clId="Web-{CCC1721E-858A-60EF-50D6-03D0E87803AF}" dt="2025-07-22T02:22:58.101" v="647"/>
        <pc:sldMkLst>
          <pc:docMk/>
          <pc:sldMk cId="3766438650" sldId="2145705818"/>
        </pc:sldMkLst>
      </pc:sldChg>
      <pc:sldChg chg="del">
        <pc:chgData name="Hamilton Stewart Rodríguez Parra" userId="9d47022e6f4561a5" providerId="Windows Live" clId="Web-{CCC1721E-858A-60EF-50D6-03D0E87803AF}" dt="2025-07-22T02:23:00.617" v="649"/>
        <pc:sldMkLst>
          <pc:docMk/>
          <pc:sldMk cId="2770535136" sldId="2145705819"/>
        </pc:sldMkLst>
      </pc:sldChg>
      <pc:sldChg chg="del">
        <pc:chgData name="Hamilton Stewart Rodríguez Parra" userId="9d47022e6f4561a5" providerId="Windows Live" clId="Web-{CCC1721E-858A-60EF-50D6-03D0E87803AF}" dt="2025-07-22T02:23:02.210" v="651"/>
        <pc:sldMkLst>
          <pc:docMk/>
          <pc:sldMk cId="458804073" sldId="2145705820"/>
        </pc:sldMkLst>
      </pc:sldChg>
      <pc:sldChg chg="del">
        <pc:chgData name="Hamilton Stewart Rodríguez Parra" userId="9d47022e6f4561a5" providerId="Windows Live" clId="Web-{CCC1721E-858A-60EF-50D6-03D0E87803AF}" dt="2025-07-22T02:23:03.164" v="653"/>
        <pc:sldMkLst>
          <pc:docMk/>
          <pc:sldMk cId="1780953469" sldId="2145705821"/>
        </pc:sldMkLst>
      </pc:sldChg>
      <pc:sldChg chg="del">
        <pc:chgData name="Hamilton Stewart Rodríguez Parra" userId="9d47022e6f4561a5" providerId="Windows Live" clId="Web-{CCC1721E-858A-60EF-50D6-03D0E87803AF}" dt="2025-07-22T02:23:04.742" v="655"/>
        <pc:sldMkLst>
          <pc:docMk/>
          <pc:sldMk cId="193963335" sldId="2145705822"/>
        </pc:sldMkLst>
      </pc:sldChg>
      <pc:sldChg chg="del">
        <pc:chgData name="Hamilton Stewart Rodríguez Parra" userId="9d47022e6f4561a5" providerId="Windows Live" clId="Web-{CCC1721E-858A-60EF-50D6-03D0E87803AF}" dt="2025-07-22T02:23:05.820" v="657"/>
        <pc:sldMkLst>
          <pc:docMk/>
          <pc:sldMk cId="1958191667" sldId="2145705825"/>
        </pc:sldMkLst>
      </pc:sldChg>
      <pc:sldChg chg="del">
        <pc:chgData name="Hamilton Stewart Rodríguez Parra" userId="9d47022e6f4561a5" providerId="Windows Live" clId="Web-{CCC1721E-858A-60EF-50D6-03D0E87803AF}" dt="2025-07-22T02:23:06.523" v="658"/>
        <pc:sldMkLst>
          <pc:docMk/>
          <pc:sldMk cId="2440363482" sldId="2145705826"/>
        </pc:sldMkLst>
      </pc:sldChg>
      <pc:sldChg chg="del">
        <pc:chgData name="Hamilton Stewart Rodríguez Parra" userId="9d47022e6f4561a5" providerId="Windows Live" clId="Web-{CCC1721E-858A-60EF-50D6-03D0E87803AF}" dt="2025-07-22T02:23:07.429" v="659"/>
        <pc:sldMkLst>
          <pc:docMk/>
          <pc:sldMk cId="1543593803" sldId="2145705827"/>
        </pc:sldMkLst>
      </pc:sldChg>
      <pc:sldChg chg="addSp modSp del">
        <pc:chgData name="Hamilton Stewart Rodríguez Parra" userId="9d47022e6f4561a5" providerId="Windows Live" clId="Web-{CCC1721E-858A-60EF-50D6-03D0E87803AF}" dt="2025-07-21T21:32:06.227" v="251"/>
        <pc:sldMkLst>
          <pc:docMk/>
          <pc:sldMk cId="1645612131" sldId="2145705828"/>
        </pc:sldMkLst>
      </pc:sldChg>
      <pc:sldChg chg="del">
        <pc:chgData name="Hamilton Stewart Rodríguez Parra" userId="9d47022e6f4561a5" providerId="Windows Live" clId="Web-{CCC1721E-858A-60EF-50D6-03D0E87803AF}" dt="2025-07-22T02:23:57.304" v="661"/>
        <pc:sldMkLst>
          <pc:docMk/>
          <pc:sldMk cId="2158410841" sldId="2145705829"/>
        </pc:sldMkLst>
      </pc:sldChg>
      <pc:sldChg chg="del ord">
        <pc:chgData name="Hamilton Stewart Rodríguez Parra" userId="9d47022e6f4561a5" providerId="Windows Live" clId="Web-{CCC1721E-858A-60EF-50D6-03D0E87803AF}" dt="2025-07-22T02:23:58.351" v="662"/>
        <pc:sldMkLst>
          <pc:docMk/>
          <pc:sldMk cId="2643906840" sldId="2145705830"/>
        </pc:sldMkLst>
      </pc:sldChg>
      <pc:sldChg chg="addSp modSp del">
        <pc:chgData name="Hamilton Stewart Rodríguez Parra" userId="9d47022e6f4561a5" providerId="Windows Live" clId="Web-{CCC1721E-858A-60EF-50D6-03D0E87803AF}" dt="2025-07-21T21:30:08.054" v="201"/>
        <pc:sldMkLst>
          <pc:docMk/>
          <pc:sldMk cId="2479444405" sldId="2145705831"/>
        </pc:sldMkLst>
      </pc:sldChg>
      <pc:sldChg chg="addSp delSp modSp">
        <pc:chgData name="Hamilton Stewart Rodríguez Parra" userId="9d47022e6f4561a5" providerId="Windows Live" clId="Web-{CCC1721E-858A-60EF-50D6-03D0E87803AF}" dt="2025-07-21T21:32:10.852" v="252" actId="20577"/>
        <pc:sldMkLst>
          <pc:docMk/>
          <pc:sldMk cId="138811212" sldId="2145705832"/>
        </pc:sldMkLst>
      </pc:sldChg>
      <pc:sldChg chg="add del replId">
        <pc:chgData name="Hamilton Stewart Rodríguez Parra" userId="9d47022e6f4561a5" providerId="Windows Live" clId="Web-{CCC1721E-858A-60EF-50D6-03D0E87803AF}" dt="2025-07-21T21:30:49.461" v="214"/>
        <pc:sldMkLst>
          <pc:docMk/>
          <pc:sldMk cId="3222911469" sldId="2145705833"/>
        </pc:sldMkLst>
      </pc:sldChg>
      <pc:sldChg chg="modSp add del replId">
        <pc:chgData name="Hamilton Stewart Rodríguez Parra" userId="9d47022e6f4561a5" providerId="Windows Live" clId="Web-{CCC1721E-858A-60EF-50D6-03D0E87803AF}" dt="2025-07-21T22:18:44.700" v="360"/>
        <pc:sldMkLst>
          <pc:docMk/>
          <pc:sldMk cId="3133477784" sldId="2145705834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8:22.568" v="560" actId="20577"/>
        <pc:sldMkLst>
          <pc:docMk/>
          <pc:sldMk cId="1174161901" sldId="2145705835"/>
        </pc:sldMkLst>
      </pc:sldChg>
      <pc:sldChg chg="modSp add replId">
        <pc:chgData name="Hamilton Stewart Rodríguez Parra" userId="9d47022e6f4561a5" providerId="Windows Live" clId="Web-{CCC1721E-858A-60EF-50D6-03D0E87803AF}" dt="2025-07-22T01:28:27.100" v="561" actId="20577"/>
        <pc:sldMkLst>
          <pc:docMk/>
          <pc:sldMk cId="1576575548" sldId="2145705836"/>
        </pc:sldMkLst>
      </pc:sldChg>
      <pc:sldChg chg="addSp delSp modSp add ord replId">
        <pc:chgData name="Hamilton Stewart Rodríguez Parra" userId="9d47022e6f4561a5" providerId="Windows Live" clId="Web-{CCC1721E-858A-60EF-50D6-03D0E87803AF}" dt="2025-07-22T01:28:17.318" v="559" actId="20577"/>
        <pc:sldMkLst>
          <pc:docMk/>
          <pc:sldMk cId="805799168" sldId="2145705837"/>
        </pc:sldMkLst>
      </pc:sldChg>
      <pc:sldChg chg="addSp modSp add ord replId">
        <pc:chgData name="Hamilton Stewart Rodríguez Parra" userId="9d47022e6f4561a5" providerId="Windows Live" clId="Web-{CCC1721E-858A-60EF-50D6-03D0E87803AF}" dt="2025-07-22T01:27:50.803" v="551" actId="20577"/>
        <pc:sldMkLst>
          <pc:docMk/>
          <pc:sldMk cId="253399744" sldId="2145705838"/>
        </pc:sldMkLst>
      </pc:sldChg>
      <pc:sldChg chg="addSp modSp add replId">
        <pc:chgData name="Hamilton Stewart Rodríguez Parra" userId="9d47022e6f4561a5" providerId="Windows Live" clId="Web-{CCC1721E-858A-60EF-50D6-03D0E87803AF}" dt="2025-07-22T01:28:00.787" v="555" actId="20577"/>
        <pc:sldMkLst>
          <pc:docMk/>
          <pc:sldMk cId="1061534771" sldId="2145705839"/>
        </pc:sldMkLst>
      </pc:sldChg>
      <pc:sldChg chg="addSp modSp add replId">
        <pc:chgData name="Hamilton Stewart Rodríguez Parra" userId="9d47022e6f4561a5" providerId="Windows Live" clId="Web-{CCC1721E-858A-60EF-50D6-03D0E87803AF}" dt="2025-07-22T01:27:55.693" v="553" actId="20577"/>
        <pc:sldMkLst>
          <pc:docMk/>
          <pc:sldMk cId="1932159061" sldId="2145705840"/>
        </pc:sldMkLst>
      </pc:sldChg>
      <pc:sldChg chg="addSp modSp add replId">
        <pc:chgData name="Hamilton Stewart Rodríguez Parra" userId="9d47022e6f4561a5" providerId="Windows Live" clId="Web-{CCC1721E-858A-60EF-50D6-03D0E87803AF}" dt="2025-07-22T01:28:12.631" v="558" actId="20577"/>
        <pc:sldMkLst>
          <pc:docMk/>
          <pc:sldMk cId="4258674718" sldId="2145705841"/>
        </pc:sldMkLst>
      </pc:sldChg>
      <pc:sldChg chg="addSp modSp add replId">
        <pc:chgData name="Hamilton Stewart Rodríguez Parra" userId="9d47022e6f4561a5" providerId="Windows Live" clId="Web-{CCC1721E-858A-60EF-50D6-03D0E87803AF}" dt="2025-07-22T01:28:07.584" v="557" actId="20577"/>
        <pc:sldMkLst>
          <pc:docMk/>
          <pc:sldMk cId="1385118724" sldId="2145705842"/>
        </pc:sldMkLst>
      </pc:sldChg>
      <pc:sldChg chg="addSp modSp add del replId">
        <pc:chgData name="Hamilton Stewart Rodríguez Parra" userId="9d47022e6f4561a5" providerId="Windows Live" clId="Web-{CCC1721E-858A-60EF-50D6-03D0E87803AF}" dt="2025-07-21T22:16:34.387" v="358"/>
        <pc:sldMkLst>
          <pc:docMk/>
          <pc:sldMk cId="1940437997" sldId="2145705843"/>
        </pc:sldMkLst>
      </pc:sldChg>
      <pc:sldChg chg="addSp delSp modSp add replId">
        <pc:chgData name="Hamilton Stewart Rodríguez Parra" userId="9d47022e6f4561a5" providerId="Windows Live" clId="Web-{CCC1721E-858A-60EF-50D6-03D0E87803AF}" dt="2025-07-22T01:27:46.256" v="550" actId="20577"/>
        <pc:sldMkLst>
          <pc:docMk/>
          <pc:sldMk cId="2528418816" sldId="2145705843"/>
        </pc:sldMkLst>
      </pc:sldChg>
      <pc:sldChg chg="add del ord replId">
        <pc:chgData name="Hamilton Stewart Rodríguez Parra" userId="9d47022e6f4561a5" providerId="Windows Live" clId="Web-{CCC1721E-858A-60EF-50D6-03D0E87803AF}" dt="2025-07-21T22:17:06.668" v="359"/>
        <pc:sldMkLst>
          <pc:docMk/>
          <pc:sldMk cId="1666770688" sldId="2145705844"/>
        </pc:sldMkLst>
      </pc:sldChg>
      <pc:sldChg chg="addSp modSp add ord replId">
        <pc:chgData name="Hamilton Stewart Rodríguez Parra" userId="9d47022e6f4561a5" providerId="Windows Live" clId="Web-{CCC1721E-858A-60EF-50D6-03D0E87803AF}" dt="2025-07-22T01:37:02.849" v="569" actId="20577"/>
        <pc:sldMkLst>
          <pc:docMk/>
          <pc:sldMk cId="4097153010" sldId="2145705844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4:09.979" v="603" actId="1076"/>
        <pc:sldMkLst>
          <pc:docMk/>
          <pc:sldMk cId="820685486" sldId="2145705845"/>
        </pc:sldMkLst>
      </pc:sldChg>
      <pc:sldChg chg="addSp modSp add replId">
        <pc:chgData name="Hamilton Stewart Rodríguez Parra" userId="9d47022e6f4561a5" providerId="Windows Live" clId="Web-{CCC1721E-858A-60EF-50D6-03D0E87803AF}" dt="2025-07-22T02:32:10.192" v="746" actId="20577"/>
        <pc:sldMkLst>
          <pc:docMk/>
          <pc:sldMk cId="2567271911" sldId="2145705846"/>
        </pc:sldMkLst>
      </pc:sldChg>
      <pc:sldChg chg="add del replId">
        <pc:chgData name="Hamilton Stewart Rodríguez Parra" userId="9d47022e6f4561a5" providerId="Windows Live" clId="Web-{CCC1721E-858A-60EF-50D6-03D0E87803AF}" dt="2025-07-22T02:31:14.974" v="741"/>
        <pc:sldMkLst>
          <pc:docMk/>
          <pc:sldMk cId="3211439641" sldId="2145705847"/>
        </pc:sldMkLst>
      </pc:sldChg>
      <pc:sldChg chg="addSp modSp add replId">
        <pc:chgData name="Hamilton Stewart Rodríguez Parra" userId="9d47022e6f4561a5" providerId="Windows Live" clId="Web-{CCC1721E-858A-60EF-50D6-03D0E87803AF}" dt="2025-07-22T02:32:43.786" v="756" actId="20577"/>
        <pc:sldMkLst>
          <pc:docMk/>
          <pc:sldMk cId="2452410328" sldId="2145705848"/>
        </pc:sldMkLst>
      </pc:sldChg>
      <pc:sldChg chg="add del replId">
        <pc:chgData name="Hamilton Stewart Rodríguez Parra" userId="9d47022e6f4561a5" providerId="Windows Live" clId="Web-{CCC1721E-858A-60EF-50D6-03D0E87803AF}" dt="2025-07-22T02:31:23.364" v="742"/>
        <pc:sldMkLst>
          <pc:docMk/>
          <pc:sldMk cId="2374813570" sldId="2145705849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08:20.525" v="623" actId="1076"/>
        <pc:sldMkLst>
          <pc:docMk/>
          <pc:sldMk cId="1909390008" sldId="2145705850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16:00.556" v="634" actId="1076"/>
        <pc:sldMkLst>
          <pc:docMk/>
          <pc:sldMk cId="97457363" sldId="2145705851"/>
        </pc:sldMkLst>
      </pc:sldChg>
      <pc:sldChg chg="addSp modSp add replId">
        <pc:chgData name="Hamilton Stewart Rodríguez Parra" userId="9d47022e6f4561a5" providerId="Windows Live" clId="Web-{CCC1721E-858A-60EF-50D6-03D0E87803AF}" dt="2025-07-22T02:32:15.973" v="747" actId="20577"/>
        <pc:sldMkLst>
          <pc:docMk/>
          <pc:sldMk cId="2132042571" sldId="2145705852"/>
        </pc:sldMkLst>
      </pc:sldChg>
      <pc:sldChg chg="addSp modSp add replId">
        <pc:chgData name="Hamilton Stewart Rodríguez Parra" userId="9d47022e6f4561a5" providerId="Windows Live" clId="Web-{CCC1721E-858A-60EF-50D6-03D0E87803AF}" dt="2025-07-22T02:32:19.895" v="749" actId="20577"/>
        <pc:sldMkLst>
          <pc:docMk/>
          <pc:sldMk cId="3002438400" sldId="2145705853"/>
        </pc:sldMkLst>
      </pc:sldChg>
      <pc:sldChg chg="addSp modSp add replId">
        <pc:chgData name="Hamilton Stewart Rodríguez Parra" userId="9d47022e6f4561a5" providerId="Windows Live" clId="Web-{CCC1721E-858A-60EF-50D6-03D0E87803AF}" dt="2025-07-22T02:32:25.786" v="751" actId="20577"/>
        <pc:sldMkLst>
          <pc:docMk/>
          <pc:sldMk cId="3568815488" sldId="2145705854"/>
        </pc:sldMkLst>
      </pc:sldChg>
      <pc:sldChg chg="addSp modSp add replId">
        <pc:chgData name="Hamilton Stewart Rodríguez Parra" userId="9d47022e6f4561a5" providerId="Windows Live" clId="Web-{CCC1721E-858A-60EF-50D6-03D0E87803AF}" dt="2025-07-22T02:32:30.114" v="752" actId="20577"/>
        <pc:sldMkLst>
          <pc:docMk/>
          <pc:sldMk cId="45499549" sldId="2145705855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4.395" v="753" actId="20577"/>
        <pc:sldMkLst>
          <pc:docMk/>
          <pc:sldMk cId="1933211623" sldId="2145705856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2:39.536" v="754" actId="20577"/>
        <pc:sldMkLst>
          <pc:docMk/>
          <pc:sldMk cId="1057248796" sldId="2145705857"/>
        </pc:sldMkLst>
      </pc:sldChg>
      <pc:sldChg chg="addSp delSp modSp add replId">
        <pc:chgData name="Hamilton Stewart Rodríguez Parra" userId="9d47022e6f4561a5" providerId="Windows Live" clId="Web-{CCC1721E-858A-60EF-50D6-03D0E87803AF}" dt="2025-07-22T02:37:44.347" v="766" actId="1076"/>
        <pc:sldMkLst>
          <pc:docMk/>
          <pc:sldMk cId="3407856218" sldId="2145705858"/>
        </pc:sldMkLst>
      </pc:sldChg>
      <pc:sldMasterChg chg="addSldLayout">
        <pc:chgData name="Hamilton Stewart Rodríguez Parra" userId="9d47022e6f4561a5" providerId="Windows Live" clId="Web-{CCC1721E-858A-60EF-50D6-03D0E87803AF}" dt="2025-07-21T20:11:48.713" v="6"/>
        <pc:sldMasterMkLst>
          <pc:docMk/>
          <pc:sldMasterMk cId="3269917566" sldId="2147484588"/>
        </pc:sldMasterMkLst>
        <pc:sldLayoutChg chg="add">
          <pc:chgData name="Hamilton Stewart Rodríguez Parra" userId="9d47022e6f4561a5" providerId="Windows Live" clId="Web-{CCC1721E-858A-60EF-50D6-03D0E87803AF}" dt="2025-07-21T20:11:48.713" v="6"/>
          <pc:sldLayoutMkLst>
            <pc:docMk/>
            <pc:sldMasterMk cId="3269917566" sldId="2147484588"/>
            <pc:sldLayoutMk cId="1634254895" sldId="2147484634"/>
          </pc:sldLayoutMkLst>
        </pc:sldLayoutChg>
      </pc:sldMasterChg>
    </pc:docChg>
  </pc:docChgLst>
  <pc:docChgLst>
    <pc:chgData name="Freddy J. Jimenez" userId="39abb9a2-ac35-4502-a213-348b029ea48a" providerId="ADAL" clId="{F5AEC350-99C6-4C8C-B972-8BB80A4ECA50}"/>
    <pc:docChg chg="undo redo custSel addSld delSld modSld">
      <pc:chgData name="Freddy J. Jimenez" userId="39abb9a2-ac35-4502-a213-348b029ea48a" providerId="ADAL" clId="{F5AEC350-99C6-4C8C-B972-8BB80A4ECA50}" dt="2025-04-02T14:47:10.654" v="5088" actId="20577"/>
      <pc:docMkLst>
        <pc:docMk/>
      </pc:docMkLst>
      <pc:sldChg chg="del">
        <pc:chgData name="Freddy J. Jimenez" userId="39abb9a2-ac35-4502-a213-348b029ea48a" providerId="ADAL" clId="{F5AEC350-99C6-4C8C-B972-8BB80A4ECA50}" dt="2025-04-01T03:28:11.733" v="244" actId="47"/>
        <pc:sldMkLst>
          <pc:docMk/>
          <pc:sldMk cId="4199436771" sldId="257"/>
        </pc:sldMkLst>
      </pc:sldChg>
      <pc:sldChg chg="del">
        <pc:chgData name="Freddy J. Jimenez" userId="39abb9a2-ac35-4502-a213-348b029ea48a" providerId="ADAL" clId="{F5AEC350-99C6-4C8C-B972-8BB80A4ECA50}" dt="2025-04-01T03:28:11.205" v="243" actId="47"/>
        <pc:sldMkLst>
          <pc:docMk/>
          <pc:sldMk cId="4153396725" sldId="577"/>
        </pc:sldMkLst>
      </pc:sldChg>
      <pc:sldChg chg="del">
        <pc:chgData name="Freddy J. Jimenez" userId="39abb9a2-ac35-4502-a213-348b029ea48a" providerId="ADAL" clId="{F5AEC350-99C6-4C8C-B972-8BB80A4ECA50}" dt="2025-04-01T03:28:07.793" v="238" actId="47"/>
        <pc:sldMkLst>
          <pc:docMk/>
          <pc:sldMk cId="102490349" sldId="919"/>
        </pc:sldMkLst>
      </pc:sldChg>
      <pc:sldChg chg="modSp mod">
        <pc:chgData name="Freddy J. Jimenez" userId="39abb9a2-ac35-4502-a213-348b029ea48a" providerId="ADAL" clId="{F5AEC350-99C6-4C8C-B972-8BB80A4ECA50}" dt="2025-04-01T03:13:54.116" v="2" actId="14100"/>
        <pc:sldMkLst>
          <pc:docMk/>
          <pc:sldMk cId="3364032398" sldId="2145705785"/>
        </pc:sldMkLst>
      </pc:sldChg>
      <pc:sldChg chg="addSp delSp modSp mod">
        <pc:chgData name="Freddy J. Jimenez" userId="39abb9a2-ac35-4502-a213-348b029ea48a" providerId="ADAL" clId="{F5AEC350-99C6-4C8C-B972-8BB80A4ECA50}" dt="2025-04-02T14:35:56.841" v="5015" actId="108"/>
        <pc:sldMkLst>
          <pc:docMk/>
          <pc:sldMk cId="2368050897" sldId="2145705796"/>
        </pc:sldMkLst>
      </pc:sldChg>
      <pc:sldChg chg="modSp add mod">
        <pc:chgData name="Freddy J. Jimenez" userId="39abb9a2-ac35-4502-a213-348b029ea48a" providerId="ADAL" clId="{F5AEC350-99C6-4C8C-B972-8BB80A4ECA50}" dt="2025-04-02T14:36:19.822" v="5019" actId="14100"/>
        <pc:sldMkLst>
          <pc:docMk/>
          <pc:sldMk cId="670359396" sldId="2145705797"/>
        </pc:sldMkLst>
      </pc:sldChg>
      <pc:sldChg chg="del">
        <pc:chgData name="Freddy J. Jimenez" userId="39abb9a2-ac35-4502-a213-348b029ea48a" providerId="ADAL" clId="{F5AEC350-99C6-4C8C-B972-8BB80A4ECA50}" dt="2025-04-01T03:14:02.737" v="3" actId="2696"/>
        <pc:sldMkLst>
          <pc:docMk/>
          <pc:sldMk cId="4213033407" sldId="2145705797"/>
        </pc:sldMkLst>
      </pc:sldChg>
      <pc:sldChg chg="del">
        <pc:chgData name="Freddy J. Jimenez" userId="39abb9a2-ac35-4502-a213-348b029ea48a" providerId="ADAL" clId="{F5AEC350-99C6-4C8C-B972-8BB80A4ECA50}" dt="2025-04-01T03:28:09.405" v="240" actId="47"/>
        <pc:sldMkLst>
          <pc:docMk/>
          <pc:sldMk cId="543530992" sldId="2145705798"/>
        </pc:sldMkLst>
      </pc:sldChg>
      <pc:sldChg chg="modSp add mod">
        <pc:chgData name="Freddy J. Jimenez" userId="39abb9a2-ac35-4502-a213-348b029ea48a" providerId="ADAL" clId="{F5AEC350-99C6-4C8C-B972-8BB80A4ECA50}" dt="2025-04-02T14:37:51.981" v="5027" actId="108"/>
        <pc:sldMkLst>
          <pc:docMk/>
          <pc:sldMk cId="3433925809" sldId="2145705798"/>
        </pc:sldMkLst>
      </pc:sldChg>
      <pc:sldChg chg="modSp add mod">
        <pc:chgData name="Freddy J. Jimenez" userId="39abb9a2-ac35-4502-a213-348b029ea48a" providerId="ADAL" clId="{F5AEC350-99C6-4C8C-B972-8BB80A4ECA50}" dt="2025-04-02T14:38:42.995" v="5032" actId="20577"/>
        <pc:sldMkLst>
          <pc:docMk/>
          <pc:sldMk cId="260716272" sldId="2145705799"/>
        </pc:sldMkLst>
      </pc:sldChg>
      <pc:sldChg chg="modSp add mod">
        <pc:chgData name="Freddy J. Jimenez" userId="39abb9a2-ac35-4502-a213-348b029ea48a" providerId="ADAL" clId="{F5AEC350-99C6-4C8C-B972-8BB80A4ECA50}" dt="2025-04-02T14:39:42.253" v="5036" actId="1076"/>
        <pc:sldMkLst>
          <pc:docMk/>
          <pc:sldMk cId="610872732" sldId="2145705800"/>
        </pc:sldMkLst>
      </pc:sldChg>
      <pc:sldChg chg="del">
        <pc:chgData name="Freddy J. Jimenez" userId="39abb9a2-ac35-4502-a213-348b029ea48a" providerId="ADAL" clId="{F5AEC350-99C6-4C8C-B972-8BB80A4ECA50}" dt="2025-04-01T03:28:10.036" v="241" actId="47"/>
        <pc:sldMkLst>
          <pc:docMk/>
          <pc:sldMk cId="1648026145" sldId="2145705800"/>
        </pc:sldMkLst>
      </pc:sldChg>
      <pc:sldChg chg="modSp add mod">
        <pc:chgData name="Freddy J. Jimenez" userId="39abb9a2-ac35-4502-a213-348b029ea48a" providerId="ADAL" clId="{F5AEC350-99C6-4C8C-B972-8BB80A4ECA50}" dt="2025-04-02T14:40:13.108" v="5039" actId="1076"/>
        <pc:sldMkLst>
          <pc:docMk/>
          <pc:sldMk cId="3104234136" sldId="2145705801"/>
        </pc:sldMkLst>
      </pc:sldChg>
      <pc:sldChg chg="modSp add mod">
        <pc:chgData name="Freddy J. Jimenez" userId="39abb9a2-ac35-4502-a213-348b029ea48a" providerId="ADAL" clId="{F5AEC350-99C6-4C8C-B972-8BB80A4ECA50}" dt="2025-04-02T14:47:10.654" v="5088" actId="20577"/>
        <pc:sldMkLst>
          <pc:docMk/>
          <pc:sldMk cId="397526778" sldId="2145705802"/>
        </pc:sldMkLst>
      </pc:sldChg>
      <pc:sldChg chg="new del">
        <pc:chgData name="Freddy J. Jimenez" userId="39abb9a2-ac35-4502-a213-348b029ea48a" providerId="ADAL" clId="{F5AEC350-99C6-4C8C-B972-8BB80A4ECA50}" dt="2025-04-02T02:58:17.623" v="1922" actId="680"/>
        <pc:sldMkLst>
          <pc:docMk/>
          <pc:sldMk cId="622964594" sldId="2145705802"/>
        </pc:sldMkLst>
      </pc:sldChg>
      <pc:sldChg chg="modSp add mod">
        <pc:chgData name="Freddy J. Jimenez" userId="39abb9a2-ac35-4502-a213-348b029ea48a" providerId="ADAL" clId="{F5AEC350-99C6-4C8C-B972-8BB80A4ECA50}" dt="2025-04-02T14:46:05.604" v="5079" actId="20577"/>
        <pc:sldMkLst>
          <pc:docMk/>
          <pc:sldMk cId="2640578046" sldId="2145705803"/>
        </pc:sldMkLst>
      </pc:sldChg>
      <pc:sldChg chg="modSp add mod">
        <pc:chgData name="Freddy J. Jimenez" userId="39abb9a2-ac35-4502-a213-348b029ea48a" providerId="ADAL" clId="{F5AEC350-99C6-4C8C-B972-8BB80A4ECA50}" dt="2025-04-02T14:42:11.261" v="5056" actId="108"/>
        <pc:sldMkLst>
          <pc:docMk/>
          <pc:sldMk cId="2815638675" sldId="2145705804"/>
        </pc:sldMkLst>
      </pc:sldChg>
      <pc:sldChg chg="modSp add mod">
        <pc:chgData name="Freddy J. Jimenez" userId="39abb9a2-ac35-4502-a213-348b029ea48a" providerId="ADAL" clId="{F5AEC350-99C6-4C8C-B972-8BB80A4ECA50}" dt="2025-04-02T14:42:31.442" v="5058" actId="108"/>
        <pc:sldMkLst>
          <pc:docMk/>
          <pc:sldMk cId="2863693662" sldId="2145705805"/>
        </pc:sldMkLst>
      </pc:sldChg>
      <pc:sldChg chg="modSp add mod">
        <pc:chgData name="Freddy J. Jimenez" userId="39abb9a2-ac35-4502-a213-348b029ea48a" providerId="ADAL" clId="{F5AEC350-99C6-4C8C-B972-8BB80A4ECA50}" dt="2025-04-02T14:43:35.760" v="5066" actId="123"/>
        <pc:sldMkLst>
          <pc:docMk/>
          <pc:sldMk cId="2071833582" sldId="2145705806"/>
        </pc:sldMkLst>
      </pc:sldChg>
      <pc:sldChg chg="modSp add mod setBg">
        <pc:chgData name="Freddy J. Jimenez" userId="39abb9a2-ac35-4502-a213-348b029ea48a" providerId="ADAL" clId="{F5AEC350-99C6-4C8C-B972-8BB80A4ECA50}" dt="2025-04-02T14:44:34.349" v="5071" actId="1076"/>
        <pc:sldMkLst>
          <pc:docMk/>
          <pc:sldMk cId="3658824876" sldId="2145705807"/>
        </pc:sldMkLst>
      </pc:sldChg>
      <pc:sldChg chg="modSp add mod setBg">
        <pc:chgData name="Freddy J. Jimenez" userId="39abb9a2-ac35-4502-a213-348b029ea48a" providerId="ADAL" clId="{F5AEC350-99C6-4C8C-B972-8BB80A4ECA50}" dt="2025-04-02T14:45:00.517" v="5074" actId="1076"/>
        <pc:sldMkLst>
          <pc:docMk/>
          <pc:sldMk cId="904865137" sldId="2145705808"/>
        </pc:sldMkLst>
      </pc:sldChg>
      <pc:sldChg chg="modSp add mod setBg">
        <pc:chgData name="Freddy J. Jimenez" userId="39abb9a2-ac35-4502-a213-348b029ea48a" providerId="ADAL" clId="{F5AEC350-99C6-4C8C-B972-8BB80A4ECA50}" dt="2025-04-02T14:45:33.765" v="5077" actId="1076"/>
        <pc:sldMkLst>
          <pc:docMk/>
          <pc:sldMk cId="2372554428" sldId="2145705809"/>
        </pc:sldMkLst>
      </pc:sldChg>
      <pc:sldChg chg="add del setBg">
        <pc:chgData name="Freddy J. Jimenez" userId="39abb9a2-ac35-4502-a213-348b029ea48a" providerId="ADAL" clId="{F5AEC350-99C6-4C8C-B972-8BB80A4ECA50}" dt="2025-04-02T14:22:35.957" v="5011" actId="2696"/>
        <pc:sldMkLst>
          <pc:docMk/>
          <pc:sldMk cId="223156292" sldId="2145705810"/>
        </pc:sldMkLst>
      </pc:sldChg>
      <pc:sldChg chg="del">
        <pc:chgData name="Freddy J. Jimenez" userId="39abb9a2-ac35-4502-a213-348b029ea48a" providerId="ADAL" clId="{F5AEC350-99C6-4C8C-B972-8BB80A4ECA50}" dt="2025-04-01T03:28:08.613" v="239" actId="47"/>
        <pc:sldMkLst>
          <pc:docMk/>
          <pc:sldMk cId="734764503" sldId="2147469150"/>
        </pc:sldMkLst>
      </pc:sldChg>
      <pc:sldChg chg="del">
        <pc:chgData name="Freddy J. Jimenez" userId="39abb9a2-ac35-4502-a213-348b029ea48a" providerId="ADAL" clId="{F5AEC350-99C6-4C8C-B972-8BB80A4ECA50}" dt="2025-04-01T03:28:10.434" v="242" actId="47"/>
        <pc:sldMkLst>
          <pc:docMk/>
          <pc:sldMk cId="1038278769" sldId="2147469151"/>
        </pc:sldMkLst>
      </pc:sldChg>
      <pc:sldMasterChg chg="delSldLayout">
        <pc:chgData name="Freddy J. Jimenez" userId="39abb9a2-ac35-4502-a213-348b029ea48a" providerId="ADAL" clId="{F5AEC350-99C6-4C8C-B972-8BB80A4ECA50}" dt="2025-04-01T03:28:11.733" v="244" actId="47"/>
        <pc:sldMasterMkLst>
          <pc:docMk/>
          <pc:sldMasterMk cId="3269917566" sldId="2147484588"/>
        </pc:sldMasterMkLst>
        <pc:sldLayoutChg chg="del">
          <pc:chgData name="Freddy J. Jimenez" userId="39abb9a2-ac35-4502-a213-348b029ea48a" providerId="ADAL" clId="{F5AEC350-99C6-4C8C-B972-8BB80A4ECA50}" dt="2025-04-01T03:28:10.434" v="242" actId="47"/>
          <pc:sldLayoutMkLst>
            <pc:docMk/>
            <pc:sldMasterMk cId="3269917566" sldId="2147484588"/>
            <pc:sldLayoutMk cId="2840820111" sldId="2147484632"/>
          </pc:sldLayoutMkLst>
        </pc:sldLayoutChg>
        <pc:sldLayoutChg chg="del">
          <pc:chgData name="Freddy J. Jimenez" userId="39abb9a2-ac35-4502-a213-348b029ea48a" providerId="ADAL" clId="{F5AEC350-99C6-4C8C-B972-8BB80A4ECA50}" dt="2025-04-01T03:28:11.733" v="244" actId="47"/>
          <pc:sldLayoutMkLst>
            <pc:docMk/>
            <pc:sldMasterMk cId="3269917566" sldId="2147484588"/>
            <pc:sldLayoutMk cId="46020980" sldId="2147484636"/>
          </pc:sldLayoutMkLst>
        </pc:sldLayoutChg>
        <pc:sldLayoutChg chg="del">
          <pc:chgData name="Freddy J. Jimenez" userId="39abb9a2-ac35-4502-a213-348b029ea48a" providerId="ADAL" clId="{F5AEC350-99C6-4C8C-B972-8BB80A4ECA50}" dt="2025-04-01T03:28:11.205" v="243" actId="47"/>
          <pc:sldLayoutMkLst>
            <pc:docMk/>
            <pc:sldMasterMk cId="3269917566" sldId="2147484588"/>
            <pc:sldLayoutMk cId="2823587740" sldId="2147484637"/>
          </pc:sldLayoutMkLst>
        </pc:sldLayoutChg>
        <pc:sldLayoutChg chg="del">
          <pc:chgData name="Freddy J. Jimenez" userId="39abb9a2-ac35-4502-a213-348b029ea48a" providerId="ADAL" clId="{F5AEC350-99C6-4C8C-B972-8BB80A4ECA50}" dt="2025-04-01T03:28:07.793" v="238" actId="47"/>
          <pc:sldLayoutMkLst>
            <pc:docMk/>
            <pc:sldMasterMk cId="3269917566" sldId="2147484588"/>
            <pc:sldLayoutMk cId="1143132442" sldId="2147484638"/>
          </pc:sldLayoutMkLst>
        </pc:sldLayoutChg>
        <pc:sldLayoutChg chg="del">
          <pc:chgData name="Freddy J. Jimenez" userId="39abb9a2-ac35-4502-a213-348b029ea48a" providerId="ADAL" clId="{F5AEC350-99C6-4C8C-B972-8BB80A4ECA50}" dt="2025-04-01T03:28:08.613" v="239" actId="47"/>
          <pc:sldLayoutMkLst>
            <pc:docMk/>
            <pc:sldMasterMk cId="3269917566" sldId="2147484588"/>
            <pc:sldLayoutMk cId="2506246507" sldId="214748463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992E28-BC29-E048-B316-30CDEC936B8B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9B611-572A-884D-9009-F185403393A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28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7BE721-2C2C-5041-8AEA-87A41BA4944C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A9585-6945-9347-A776-DE934A84F3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3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3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5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1.xml"/><Relationship Id="rId4" Type="http://schemas.openxmlformats.org/officeDocument/2006/relationships/image" Target="../media/image15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8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6.jpeg"/><Relationship Id="rId5" Type="http://schemas.openxmlformats.org/officeDocument/2006/relationships/image" Target="../media/image8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0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4" Type="http://schemas.openxmlformats.org/officeDocument/2006/relationships/image" Target="../media/image15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33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81127484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945ED85-C121-4CA6-9C0F-F5FD0435769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9614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47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A115123-D0E3-4220-9403-740338092D6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387660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764714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83700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33177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73984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957586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1079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684666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250521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573947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00652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267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3C9E8CB-5A95-472E-ADEA-E9D08E09214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528233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101079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861473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86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77060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958298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797232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487036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075377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57880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20345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000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081A10D-3708-4E36-B916-C061A4726F3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530605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751497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96303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855602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365107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1408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10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71954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20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6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" descr="Image result for panama">
            <a:extLst>
              <a:ext uri="{FF2B5EF4-FFF2-40B4-BE49-F238E27FC236}">
                <a16:creationId xmlns:a16="http://schemas.microsoft.com/office/drawing/2014/main" id="{FDBB32D6-A466-4008-AB02-3CB88A182E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23817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6981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685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7145639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04625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29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122E148-4626-4EB1-9503-8D8976A6FF5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085470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47477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2952C7-C1DB-484D-A9ED-01AA716B942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961555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E5A679-65AF-46E8-997D-E3A26DFB458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96378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11C14-1D90-4E49-861E-C07B5B047CC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5419916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5A82DC-71FF-4B7D-BDCE-824A3FE355F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8341788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6E273-2F29-4664-B35A-DBD08D962A48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47732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174AE-BB7A-4AB0-9DF5-4628D606C3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971148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5123-D0E3-4220-9403-740338092D6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1718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9E8CB-5A95-472E-ADEA-E9D08E09214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911735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81A10D-3708-4E36-B916-C061A4726F3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80682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839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0C84D6B-3917-45C9-A0A3-F1D4498C21C6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681020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22E148-4626-4EB1-9503-8D8976A6FF5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89423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84D6B-3917-45C9-A0A3-F1D4498C21C6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56776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C52EB-0F95-46A6-A8EB-EC0398BE66B2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767796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61E237-91CC-407C-BFC7-3B142DD1CA7B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063656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F9B7A-BF56-489E-82C1-58AE830A8B0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110683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5ECCD-BB21-4DEF-8FA9-1EDB0D32C5D5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576216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C73CD1-7D68-4F7C-A569-80378087C3A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93913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A9AF74-464C-4061-A12E-620A6602F3E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5961749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rtl="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3E3838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821D7-FED0-48B8-AFE5-3A57F0E24FE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265036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69169-6252-4223-9C44-F0DB84BC380C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5335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9586346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A0C52EB-0F95-46A6-A8EB-EC0398BE66B2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58529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FCEDF8-E01B-4D65-B800-77998C5C87E1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895641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039113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599CF-32FC-4546-9071-AED32C48D7AE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9668508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336D7-3FB4-4A6A-9BA5-C8918FC89344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34282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B8EB3F-64B7-4D6B-8899-ACCCE5991EA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143431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9086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CF76D5CA-7EF6-4E33-8DB9-EA5123A3F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CF76D5CA-7EF6-4E33-8DB9-EA5123A3F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A262658B-BCDD-4E6C-999E-ED8C72108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D5DCD9-9198-45AC-A2C5-2305FD5E1921}" type="datetime2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9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7" name="Straight Connector 9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20090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0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93" lvl="0" indent="-249436" algn="l" defTabSz="901473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3135514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BE58E-0401-4D72-91AA-3CD4318FE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2BE58E-0401-4D72-91AA-3CD4318FE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0B9010-66AE-4CC6-9D8C-02E06F29DA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pic>
        <p:nvPicPr>
          <p:cNvPr id="40962" name="Picture 2" descr="Image result for panama">
            <a:extLst>
              <a:ext uri="{FF2B5EF4-FFF2-40B4-BE49-F238E27FC236}">
                <a16:creationId xmlns:a16="http://schemas.microsoft.com/office/drawing/2014/main" id="{F1101C64-6F30-4C31-8DDD-DE93466730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546395"/>
            <a:ext cx="12191999" cy="524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ounded Rectangle 33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Liberty Latin America</a:t>
            </a: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41" name="Straight Connector 40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62CEA-C007-4B27-A0CB-BFAA25D22CBC}" type="datetime2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20 October 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E38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10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16" name="Rectangle 11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7" name="Straight Connector 116"/>
          <p:cNvCxnSpPr/>
          <p:nvPr userDrawn="1"/>
        </p:nvCxnSpPr>
        <p:spPr>
          <a:xfrm>
            <a:off x="0" y="4715383"/>
            <a:ext cx="12191999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6872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6170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43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7833515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961E237-91CC-407C-BFC7-3B142DD1CA7B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217573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8124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D00FD-7DE9-0FC9-54D5-8FA030733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F696DE-550E-2A82-D423-413A5F249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133E8-3382-3528-2963-4E52D836D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24E78-D5C6-47B8-BE8F-F9E97752F95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BB90E9-D36C-F955-46A6-32218CDF7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3B934-60B1-3810-DE3E-04736E5B0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55CBF-E401-402C-9C20-6BB638019E8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8183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71E8B-6CA5-40B2-8038-0E112F3DAC1C}" type="datetimeFigureOut">
              <a:rPr lang="es-ES" smtClean="0"/>
              <a:t>20/10/202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42548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14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53F9B7A-BF56-489E-82C1-58AE830A8B0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65295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971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DB5ECCD-BB21-4DEF-8FA9-1EDB0D32C5D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97620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50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CC73CD1-7D68-4F7C-A569-80378087C3A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24476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348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9A93812-1C99-4DA3-9F04-4BE0DDBB6E67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52936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26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0A9AF74-464C-4061-A12E-620A6602F3E4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27549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89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4A821D7-FED0-48B8-AFE5-3A57F0E24FED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877152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38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D569169-6252-4223-9C44-F0DB84BC380C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9524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90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FCEDF8-E01B-4D65-B800-77998C5C87E1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065506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60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91332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06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0C599CF-32FC-4546-9071-AED32C48D7A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013469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644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DA336D7-3FB4-4A6A-9BA5-C8918FC89344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65052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069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CB8EB3F-64B7-4D6B-8899-ACCCE5991EAA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83304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091064"/>
              </p:ext>
            </p:ext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382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239903"/>
              </p:ext>
            </p:extLst>
          </p:nvPr>
        </p:nvGraphicFramePr>
        <p:xfrm>
          <a:off x="2131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513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62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67CB4AF-90BF-432B-AE7E-BF2637A8162A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39797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23685639-7271-BD48-B67A-49D8BB420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" t="13118" r="80" b="28873"/>
          <a:stretch/>
        </p:blipFill>
        <p:spPr>
          <a:xfrm>
            <a:off x="-2892" y="0"/>
            <a:ext cx="12204831" cy="472441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72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 dirty="0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 dirty="0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497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. LLA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Monday, 20 October 2025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94542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. Legal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800" smtClean="0"/>
              <a:t>Monday, 20 October 2025</a:t>
            </a:fld>
            <a:r>
              <a:rPr lang="en-GB" sz="800"/>
              <a:t>  </a:t>
            </a:r>
            <a:r>
              <a:rPr lang="en-GB" sz="800" dirty="0"/>
              <a:t>|</a:t>
            </a:r>
            <a:endParaRPr lang="en-US" dirty="0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60773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08EA8D-0558-F8F7-8CA9-2A3BF7D7F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3E9902B-8379-AAA7-F1B2-27DE6CF1D0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FA751DF-AD1D-7769-0046-0319F34190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18E9430C-4F76-4207-441A-747769788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EE4063D-BE31-551B-A82E-2FDBC096B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671E244-8665-C342-8638-9BA2BE177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63DD0-DA40-4E4D-8FF7-594286DF9494}" type="datetimeFigureOut">
              <a:rPr lang="es-CO" smtClean="0"/>
              <a:t>20/10/2025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51FED2D-6538-CFEF-128B-EA53E50F2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D8A0D89-CD08-FE6C-09C1-5D3EF184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C3047C-4ACA-4849-B6A1-3CB4DB4D4D9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489455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02356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Font typeface="+mj-lt"/>
              <a:buAutoNum type="arabicPeriod"/>
              <a:defRPr/>
            </a:lvl1pPr>
            <a:lvl2pPr marL="777240">
              <a:defRPr/>
            </a:lvl2pPr>
            <a:lvl3pPr marL="1051560">
              <a:defRPr/>
            </a:lvl3pPr>
            <a:lvl4pPr marL="1371600">
              <a:defRPr/>
            </a:lvl4pPr>
            <a:lvl5pPr marL="16459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62151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ssues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460374" y="1325563"/>
            <a:ext cx="11420475" cy="4554537"/>
          </a:xfrm>
        </p:spPr>
        <p:txBody>
          <a:bodyPr/>
          <a:lstStyle>
            <a:lvl1pPr marL="411480" indent="-411480">
              <a:buClrTx/>
              <a:buFont typeface="+mj-lt"/>
              <a:buAutoNum type="arabicPeriod"/>
              <a:defRPr>
                <a:solidFill>
                  <a:srgbClr val="919191"/>
                </a:solidFill>
              </a:defRPr>
            </a:lvl1pPr>
            <a:lvl2pPr marL="777240">
              <a:buClrTx/>
              <a:defRPr>
                <a:solidFill>
                  <a:srgbClr val="919191"/>
                </a:solidFill>
              </a:defRPr>
            </a:lvl2pPr>
            <a:lvl3pPr marL="1051560">
              <a:buClrTx/>
              <a:defRPr>
                <a:solidFill>
                  <a:srgbClr val="919191"/>
                </a:solidFill>
              </a:defRPr>
            </a:lvl3pPr>
            <a:lvl4pPr marL="1371600">
              <a:buClrTx/>
              <a:defRPr>
                <a:solidFill>
                  <a:srgbClr val="919191"/>
                </a:solidFill>
              </a:defRPr>
            </a:lvl4pPr>
            <a:lvl5pPr marL="1645920">
              <a:buClrTx/>
              <a:defRPr>
                <a:solidFill>
                  <a:srgbClr val="91919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77855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5670550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6218238" y="1325563"/>
            <a:ext cx="5662612" cy="4554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20217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2pPr>
            <a:lvl3pPr marL="594360" indent="-274320">
              <a:buClr>
                <a:schemeClr val="bg1"/>
              </a:buClr>
              <a:buFont typeface="Arial" panose="020B0604020202020204" pitchFamily="34" charset="0"/>
              <a:buChar char="–"/>
              <a:defRPr sz="2200"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8654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23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C2952C7-C1DB-484D-A9ED-01AA716B942B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108016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 bwMode="gray">
          <a:xfrm>
            <a:off x="304800" y="945753"/>
            <a:ext cx="11576050" cy="1029537"/>
          </a:xfrm>
          <a:solidFill>
            <a:srgbClr val="00529B"/>
          </a:solidFill>
        </p:spPr>
        <p:txBody>
          <a:bodyPr lIns="0" tIns="0" rIns="91440" bIns="0" anchor="ctr" anchorCtr="0">
            <a:noAutofit/>
          </a:bodyPr>
          <a:lstStyle>
            <a:lvl1pPr marL="146304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317500" y="2111375"/>
            <a:ext cx="5657850" cy="3768725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 bwMode="gray">
          <a:xfrm>
            <a:off x="6218238" y="2111375"/>
            <a:ext cx="5662612" cy="3768725"/>
          </a:xfrm>
        </p:spPr>
        <p:txBody>
          <a:bodyPr/>
          <a:lstStyle>
            <a:lvl1pPr marL="0" indent="0">
              <a:buNone/>
              <a:defRPr sz="2400" b="1"/>
            </a:lvl1pPr>
            <a:lvl2pPr marL="27432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400"/>
            </a:lvl2pPr>
            <a:lvl3pPr marL="594360" indent="-274320">
              <a:buFont typeface="Arial" panose="020B0604020202020204" pitchFamily="34" charset="0"/>
              <a:buChar char="–"/>
              <a:defRPr sz="2200"/>
            </a:lvl3pPr>
            <a:lvl4pPr marL="868680" indent="-274320">
              <a:buFont typeface="Wingdings" panose="05000000000000000000" pitchFamily="2" charset="2"/>
              <a:buChar char="§"/>
              <a:defRPr sz="2000"/>
            </a:lvl4pPr>
            <a:lvl5pPr marL="1188720" indent="-274320">
              <a:buFont typeface="Arial" panose="020B0604020202020204" pitchFamily="34" charset="0"/>
              <a:buChar char="–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06672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33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 bwMode="gray">
          <a:xfrm>
            <a:off x="304800" y="1325564"/>
            <a:ext cx="11576049" cy="4554536"/>
          </a:xfrm>
        </p:spPr>
        <p:txBody>
          <a:bodyPr/>
          <a:lstStyle>
            <a:lvl1pPr marL="411163" indent="-411163">
              <a:buClr>
                <a:schemeClr val="accent6"/>
              </a:buClr>
              <a:buFont typeface="Wingdings" panose="05000000000000000000" pitchFamily="2" charset="2"/>
              <a:buChar char="ü"/>
              <a:defRPr/>
            </a:lvl1pPr>
            <a:lvl2pPr marL="777240" indent="-274320">
              <a:buClr>
                <a:schemeClr val="accent6"/>
              </a:buClr>
              <a:defRPr/>
            </a:lvl2pPr>
            <a:lvl3pPr marL="1051560" indent="-273037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 marL="1371600" indent="-274320">
              <a:buClr>
                <a:schemeClr val="accent6"/>
              </a:buClr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12268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b="1"/>
            </a:lvl1pPr>
            <a:lvl2pPr marL="548640" indent="-274320">
              <a:lnSpc>
                <a:spcPct val="90000"/>
              </a:lnSpc>
              <a:buClr>
                <a:srgbClr val="00529B"/>
              </a:buClr>
              <a:buFont typeface="Wingdings" panose="05000000000000000000" pitchFamily="2" charset="2"/>
              <a:buChar char="§"/>
              <a:defRPr/>
            </a:lvl2pPr>
            <a:lvl3pPr marL="86868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3pPr>
            <a:lvl4pPr marL="1143000" indent="-274320">
              <a:lnSpc>
                <a:spcPct val="90000"/>
              </a:lnSpc>
              <a:buFont typeface="Wingdings" panose="05000000000000000000" pitchFamily="2" charset="2"/>
              <a:buChar char="§"/>
              <a:defRPr/>
            </a:lvl4pPr>
            <a:lvl5pPr marL="1463040" indent="-274320">
              <a:lnSpc>
                <a:spcPct val="90000"/>
              </a:lnSpc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1176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ed Rese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365760" indent="-365760">
              <a:spcBef>
                <a:spcPts val="300"/>
              </a:spcBef>
              <a:buSzPct val="80000"/>
              <a:buFont typeface="Wingdings 3" panose="05040102010807070707" pitchFamily="18" charset="2"/>
              <a:buChar char="u"/>
              <a:defRPr b="1"/>
            </a:lvl1pPr>
            <a:lvl2pPr marL="731520">
              <a:spcBef>
                <a:spcPts val="300"/>
              </a:spcBef>
              <a:defRPr/>
            </a:lvl2pPr>
            <a:lvl3pPr marL="1005840">
              <a:spcBef>
                <a:spcPts val="300"/>
              </a:spcBef>
              <a:defRPr/>
            </a:lvl3pPr>
            <a:lvl4pPr marL="1325880">
              <a:spcBef>
                <a:spcPts val="300"/>
              </a:spcBef>
              <a:defRPr/>
            </a:lvl4pPr>
            <a:lvl5pPr marL="1600200"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66322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7045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TT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18303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6762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276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5022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304801" y="1325564"/>
            <a:ext cx="5670549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1" y="228600"/>
            <a:ext cx="5670550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5444778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4250578"/>
            <a:ext cx="11576050" cy="1629522"/>
          </a:xfrm>
          <a:prstGeom prst="rect">
            <a:avLst/>
          </a:prstGeom>
          <a:solidFill>
            <a:srgbClr val="00529B"/>
          </a:solidFill>
        </p:spPr>
        <p:txBody>
          <a:bodyPr lIns="146304" tIns="182880" rIns="91440" bIns="182880" anchor="ctr" anchorCtr="0"/>
          <a:lstStyle>
            <a:lvl1pPr marL="0" indent="0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1pPr>
            <a:lvl2pPr marL="318436" indent="0">
              <a:buNone/>
              <a:defRPr>
                <a:solidFill>
                  <a:schemeClr val="bg1"/>
                </a:solidFill>
              </a:defRPr>
            </a:lvl2pPr>
            <a:lvl3pPr marL="683650" indent="0">
              <a:buNone/>
              <a:defRPr>
                <a:solidFill>
                  <a:schemeClr val="bg1"/>
                </a:solidFill>
              </a:defRPr>
            </a:lvl3pPr>
            <a:lvl4pPr marL="957955" indent="0">
              <a:buNone/>
              <a:defRPr>
                <a:solidFill>
                  <a:schemeClr val="bg1"/>
                </a:solidFill>
              </a:defRPr>
            </a:lvl4pPr>
            <a:lvl5pPr marL="123226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304800" y="1325563"/>
            <a:ext cx="11576050" cy="29250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895486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Ite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2"/>
          </p:nvPr>
        </p:nvSpPr>
        <p:spPr bwMode="gray">
          <a:xfrm>
            <a:off x="7988301" y="307975"/>
            <a:ext cx="3892549" cy="5572125"/>
          </a:xfrm>
          <a:prstGeom prst="rect">
            <a:avLst/>
          </a:prstGeom>
          <a:solidFill>
            <a:srgbClr val="00529B"/>
          </a:solidFill>
        </p:spPr>
        <p:txBody>
          <a:bodyPr lIns="228600" tIns="137160" rIns="182880" bIns="91440"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7432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64008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3pPr>
            <a:lvl4pPr marL="914400" indent="-27432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4pPr>
            <a:lvl5pPr marL="1234440" indent="-274320">
              <a:buClr>
                <a:schemeClr val="bg1"/>
              </a:buClr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04801" y="1325564"/>
            <a:ext cx="7666038" cy="45545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auto">
          <a:xfrm>
            <a:off x="304800" y="228600"/>
            <a:ext cx="7648575" cy="5355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7855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668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5E5A679-65AF-46E8-997D-E3A26DFB4586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860483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6968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hird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04801" y="307975"/>
            <a:ext cx="3767138" cy="5572125"/>
          </a:xfrm>
          <a:solidFill>
            <a:srgbClr val="00529B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buNone/>
              <a:defRPr sz="3600" b="1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buNone/>
              <a:defRPr sz="320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09655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565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Pla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1099757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228600"/>
            <a:ext cx="11576050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/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806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ing_Mult_Cho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548640" indent="-274320">
              <a:buClr>
                <a:srgbClr val="00529B"/>
              </a:buClr>
              <a:buFont typeface="Wingdings" panose="05000000000000000000" pitchFamily="2" charset="2"/>
              <a:buChar char="§"/>
              <a:defRPr sz="2800"/>
            </a:lvl2pPr>
            <a:lvl3pPr marL="914400" indent="-274320">
              <a:buFont typeface="Arial" panose="020B0604020202020204" pitchFamily="34" charset="0"/>
              <a:buChar char="–"/>
              <a:defRPr sz="2400"/>
            </a:lvl3pPr>
            <a:lvl4pPr marL="1188720" indent="-274320">
              <a:buFont typeface="Wingdings" panose="05000000000000000000" pitchFamily="2" charset="2"/>
              <a:buChar char="§"/>
              <a:defRPr/>
            </a:lvl4pPr>
            <a:lvl5pPr marL="1508760" indent="-27432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9385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4800" y="307975"/>
            <a:ext cx="11576050" cy="5572125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 bwMode="auto">
          <a:xfrm>
            <a:off x="927101" y="933451"/>
            <a:ext cx="5575300" cy="3129502"/>
          </a:xfrm>
          <a:prstGeom prst="rect">
            <a:avLst/>
          </a:prstGeom>
          <a:solidFill>
            <a:schemeClr val="bg1"/>
          </a:solidFill>
        </p:spPr>
        <p:txBody>
          <a:bodyPr lIns="228600" tIns="274320" bIns="91440" anchor="t" anchorCtr="0"/>
          <a:lstStyle>
            <a:lvl1pPr marL="0" indent="0">
              <a:lnSpc>
                <a:spcPct val="90000"/>
              </a:lnSpc>
              <a:buNone/>
              <a:defRPr sz="3600" b="1" baseline="0"/>
            </a:lvl1pPr>
            <a:lvl2pPr marL="0" indent="0">
              <a:buNone/>
              <a:defRPr sz="280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674403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53403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rgbClr val="00529B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4235198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474853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0" y="7"/>
            <a:ext cx="12192000" cy="588009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230177" algn="l"/>
              </a:tabLst>
            </a:pPr>
            <a:endParaRPr lang="en-US" sz="1051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746441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rgbClr val="00529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2608531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88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5D11C14-1D90-4E49-861E-C07B5B047CC5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54869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8159706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304800" y="1325565"/>
            <a:ext cx="11576050" cy="4554536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28248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alf inch boarder"/>
          <p:cNvSpPr>
            <a:spLocks noChangeAspect="1"/>
          </p:cNvSpPr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7348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0 h 6858000"/>
              <a:gd name="connsiteX3" fmla="*/ 12192000 w 12192000"/>
              <a:gd name="connsiteY3" fmla="*/ 457200 h 6858000"/>
              <a:gd name="connsiteX4" fmla="*/ 12192000 w 12192000"/>
              <a:gd name="connsiteY4" fmla="*/ 6858000 h 6858000"/>
              <a:gd name="connsiteX5" fmla="*/ 11734800 w 12192000"/>
              <a:gd name="connsiteY5" fmla="*/ 6858000 h 6858000"/>
              <a:gd name="connsiteX6" fmla="*/ 11734800 w 12192000"/>
              <a:gd name="connsiteY6" fmla="*/ 457200 h 6858000"/>
              <a:gd name="connsiteX7" fmla="*/ 457200 w 12192000"/>
              <a:gd name="connsiteY7" fmla="*/ 457200 h 6858000"/>
              <a:gd name="connsiteX8" fmla="*/ 457200 w 12192000"/>
              <a:gd name="connsiteY8" fmla="*/ 6858000 h 6858000"/>
              <a:gd name="connsiteX9" fmla="*/ 0 w 12192000"/>
              <a:gd name="connsiteY9" fmla="*/ 6858000 h 6858000"/>
              <a:gd name="connsiteX10" fmla="*/ 0 w 12192000"/>
              <a:gd name="connsiteY10" fmla="*/ 457200 h 6858000"/>
              <a:gd name="connsiteX11" fmla="*/ 0 w 12192000"/>
              <a:gd name="connsiteY11" fmla="*/ 0 h 6858000"/>
              <a:gd name="connsiteX12" fmla="*/ 457200 w 12192000"/>
              <a:gd name="connsiteY12" fmla="*/ 0 h 6858000"/>
              <a:gd name="connsiteX13" fmla="*/ 1173480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1734800" y="0"/>
                </a:moveTo>
                <a:lnTo>
                  <a:pt x="12192000" y="0"/>
                </a:lnTo>
                <a:lnTo>
                  <a:pt x="12192000" y="0"/>
                </a:lnTo>
                <a:lnTo>
                  <a:pt x="12192000" y="457200"/>
                </a:lnTo>
                <a:lnTo>
                  <a:pt x="12192000" y="6858000"/>
                </a:lnTo>
                <a:lnTo>
                  <a:pt x="11734800" y="6858000"/>
                </a:lnTo>
                <a:lnTo>
                  <a:pt x="11734800" y="457200"/>
                </a:lnTo>
                <a:lnTo>
                  <a:pt x="457200" y="457200"/>
                </a:lnTo>
                <a:lnTo>
                  <a:pt x="457200" y="6858000"/>
                </a:lnTo>
                <a:lnTo>
                  <a:pt x="0" y="6858000"/>
                </a:lnTo>
                <a:lnTo>
                  <a:pt x="0" y="457200"/>
                </a:lnTo>
                <a:lnTo>
                  <a:pt x="0" y="0"/>
                </a:lnTo>
                <a:lnTo>
                  <a:pt x="457200" y="0"/>
                </a:lnTo>
                <a:lnTo>
                  <a:pt x="1173480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2"/>
            <a:ext cx="12192000" cy="685799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85766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04800" y="3140535"/>
            <a:ext cx="11576050" cy="609398"/>
          </a:xfrm>
        </p:spPr>
        <p:txBody>
          <a:bodyPr tIns="0" anchor="ctr" anchorCtr="0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073573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8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67937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0"/>
          <p:cNvSpPr>
            <a:spLocks noChangeArrowheads="1"/>
          </p:cNvSpPr>
          <p:nvPr userDrawn="1"/>
        </p:nvSpPr>
        <p:spPr bwMode="gray">
          <a:xfrm>
            <a:off x="-793" y="8"/>
            <a:ext cx="12192000" cy="6857992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none" anchor="t" anchorCtr="0"/>
          <a:lstStyle/>
          <a:p>
            <a:pPr algn="l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172633" algn="l"/>
              </a:tabLst>
            </a:pPr>
            <a:endParaRPr lang="en-US" sz="788" ker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04800" y="1325563"/>
            <a:ext cx="11576050" cy="45545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5000" y="6208369"/>
            <a:ext cx="1417320" cy="323040"/>
          </a:xfrm>
          <a:prstGeom prst="rect">
            <a:avLst/>
          </a:prstGeom>
        </p:spPr>
      </p:pic>
      <p:sp>
        <p:nvSpPr>
          <p:cNvPr id="10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FFFFFF">
                    <a:lumMod val="85000"/>
                  </a:srgbClr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FFFFFF">
                    <a:lumMod val="85000"/>
                  </a:srgbClr>
                </a:solidFill>
              </a:rPr>
              <a:t>	© 2017 Gartner, Inc.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433169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695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53474019"/>
              </p:ext>
            </p:extLst>
          </p:nvPr>
        </p:nvGraphicFramePr>
        <p:xfrm>
          <a:off x="725212" y="1553302"/>
          <a:ext cx="10773106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067912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9969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869201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0701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3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26231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1" y="15525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3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1" y="3762377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578003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A3F2D9-FAC1-4D18-8C97-DBDC768D0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28754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A3F2D9-FAC1-4D18-8C97-DBDC768D0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5A114C1-F623-4826-A9AE-014E3B65CF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1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645468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7B8557E-3425-4C56-B007-F68EA4279B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6346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7B8557E-3425-4C56-B007-F68EA4279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FCF03AE-A1B8-4191-A665-925EA962FB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37779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6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55A82DC-71FF-4B7D-BDCE-824A3FE355FE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03021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475CCC-25DD-4E5A-A479-08DE062B1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851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475CCC-25DD-4E5A-A479-08DE062B1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F9A9DBF-2E2C-4D76-B2FD-C0BC6BAE29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2080519"/>
            <a:ext cx="5980387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67815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9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6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2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5" y="4341212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2" y="492760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60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5" y="5459299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898436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4287AC9-49FF-42C4-9E2B-EFFCA46B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5802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4287AC9-49FF-42C4-9E2B-EFFCA46BA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998EBE3-5450-473D-B6E8-C6CAF1035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6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2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4" y="2362203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8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5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9"/>
            <a:ext cx="5863011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69303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07031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4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7" y="1653169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3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80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8" y="1653169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4" y="2409764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4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61" y="1653169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7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10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5" y="1653169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1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7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1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8" y="1653169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8" y="3954522"/>
            <a:ext cx="1677679" cy="1988672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70" y="2430632"/>
            <a:ext cx="596183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7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61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3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8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4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901622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2018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5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513945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6332E3-50CE-44E3-83B9-01CBCE322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2703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6332E3-50CE-44E3-83B9-01CBCE32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29B26ED-7F28-492C-9DAD-E29F57B801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2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2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2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2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2" y="4086016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2" y="4086016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41"/>
            <a:ext cx="2737495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2" y="4086016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2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882054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1C392B-9772-4449-B274-C8F019BF8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2245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1C392B-9772-4449-B274-C8F019BF8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6E74A4A-0F3E-4A8E-B0F4-620BE8F88A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9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021242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864BA00-0CA2-427F-BFA8-D5F899DEB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3864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864BA00-0CA2-427F-BFA8-D5F899DE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6105DD77-FB08-49F6-A436-E8CD9C941F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230413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2E4A0BD-9236-4560-A764-035A2E194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23633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2E4A0BD-9236-4560-A764-035A2E194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A18DB26-052D-48CF-8245-7E2537F0F9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514918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4DDD6B-56B7-4BF5-B401-0BE44C4C1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1128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4DDD6B-56B7-4BF5-B401-0BE44C4C1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61879BC-2A52-426E-B20E-85F088398D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5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5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5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5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386337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3115B7E-4A1F-4068-94A8-022DF0191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974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3115B7E-4A1F-4068-94A8-022DF0191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CD5BEB3D-5E62-49D0-934F-D286C65AE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1684452"/>
              </p:ext>
            </p:extLst>
          </p:nvPr>
        </p:nvGraphicFramePr>
        <p:xfrm>
          <a:off x="783771" y="1534944"/>
          <a:ext cx="10377820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3" marR="66463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08138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AA60490-AFBD-4A8C-89FB-A49BAD64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34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AA60490-AFBD-4A8C-89FB-A49BAD64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49DCABD1-BEAA-4EEC-924B-C9FBB23FEA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106E273-2F29-4664-B35A-DBD08D962A48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064678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879D304-3645-4A8A-A35F-4B024430F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8474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16" imgH="416" progId="TCLayout.ActiveDocument.1">
                  <p:embed/>
                </p:oleObj>
              </mc:Choice>
              <mc:Fallback>
                <p:oleObj name="Diapositiva de think-cell" r:id="rId5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879D304-3645-4A8A-A35F-4B024430F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EAFE1C7-DBDD-47B0-A3D2-F2F9F7AD56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6252196"/>
              </p:ext>
            </p:extLst>
          </p:nvPr>
        </p:nvGraphicFramePr>
        <p:xfrm>
          <a:off x="954157" y="1584127"/>
          <a:ext cx="10207430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141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EC870B3-50A2-46BE-AA7B-4A936D9F1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1410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EC870B3-50A2-46BE-AA7B-4A936D9F1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0DBCFD6-6AB0-446C-ABE3-7A9D917775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9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6515059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6513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338686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8326FD8-10A6-48A9-BAFF-C691458C1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10893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8326FD8-10A6-48A9-BAFF-C691458C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0934FCA-74B9-4B28-ACD0-8909FD502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49" y="1553303"/>
            <a:ext cx="511678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9" y="1876659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193000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F003DE-FE9D-4ABD-A7B3-2652A1F34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4661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0F003DE-FE9D-4ABD-A7B3-2652A1F34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8D3152-AE5F-4DB1-B0FA-38D86D0CF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4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20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697" indent="-139697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4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3" y="1876659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17094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665559F-26E3-4E68-91A4-C0766AD4A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7178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665559F-26E3-4E68-91A4-C0766AD4A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BF262311-8DB3-40D8-A862-1E2F520E5D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5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5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5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4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9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4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984979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899918-A378-45FD-8700-4E2340C89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0407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899918-A378-45FD-8700-4E2340C89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9A197265-B4C3-4B35-9F5E-E038ABA27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3" y="1530828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612" y="2538471"/>
              <a:ext cx="1413207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3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5" y="3692584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38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3" y="1553303"/>
            <a:ext cx="5116787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189" indent="0" algn="l">
              <a:buFontTx/>
              <a:buNone/>
              <a:defRPr sz="1200"/>
            </a:lvl2pPr>
            <a:lvl3pPr marL="914377" indent="0" algn="l">
              <a:buFontTx/>
              <a:buNone/>
              <a:defRPr sz="1200"/>
            </a:lvl3pPr>
            <a:lvl4pPr marL="1371566" indent="0" algn="l">
              <a:buFontTx/>
              <a:buNone/>
              <a:defRPr sz="1200"/>
            </a:lvl4pPr>
            <a:lvl5pPr marL="1828754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3" y="2332849"/>
            <a:ext cx="5116787" cy="3646923"/>
          </a:xfrm>
          <a:prstGeom prst="rect">
            <a:avLst/>
          </a:prstGeom>
        </p:spPr>
        <p:txBody>
          <a:bodyPr lIns="0" tIns="0" rIns="0" bIns="0"/>
          <a:lstStyle>
            <a:lvl1pPr marL="134935" indent="-134935">
              <a:tabLst/>
              <a:defRPr sz="1400" baseline="0"/>
            </a:lvl1pPr>
            <a:lvl2pPr marL="314317" indent="-136522">
              <a:tabLst/>
              <a:defRPr sz="1200" baseline="0"/>
            </a:lvl2pPr>
            <a:lvl3pPr marL="450839" indent="-136522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938035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3C38AE4-B279-4EB8-8554-69F24D64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94289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3C38AE4-B279-4EB8-8554-69F24D64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2AB5A7A-288E-4B8B-945D-D3095B3373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6" y="3803960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0240" y="3884615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8" y="3726326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1" y="2067389"/>
            <a:ext cx="2278063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9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1" y="2894476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1" y="2894476"/>
            <a:ext cx="1744663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8" y="1438739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800" y="1698047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552132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55AF908-E693-430C-A758-3A9795ECD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31077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55AF908-E693-430C-A758-3A9795ECD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8F4DA4E-B32C-4478-A3ED-55FDD4938A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20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7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9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2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2" y="2691368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2" y="2856099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7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9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9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8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8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1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5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5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5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5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7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3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30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30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3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3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3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3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8" y="3708913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61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2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649958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5A94F79-3A9D-4B26-B0B4-54E057083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819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5A94F79-3A9D-4B26-B0B4-54E057083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2FF857E-19FC-4DFA-93C2-FA79EA29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3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6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1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7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6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6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89" y="43503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16200000">
            <a:off x="3796653" y="5536653"/>
            <a:ext cx="0" cy="201707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7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4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4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4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4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6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50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7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7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2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9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9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9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4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3" y="2530167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7" y="1853247"/>
            <a:ext cx="3545495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1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7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5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6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49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49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4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4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89" y="373442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89" y="5007603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89" y="5633078"/>
            <a:ext cx="18702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5" y="486992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5" y="503465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5" y="5508098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5" y="5672829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6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7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11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2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3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4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60"/>
            <a:ext cx="1514475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91"/>
            <a:ext cx="1514475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189" indent="0">
              <a:buNone/>
              <a:defRPr sz="1000"/>
            </a:lvl2pPr>
            <a:lvl3pPr marL="914377" indent="0">
              <a:buNone/>
              <a:defRPr sz="10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4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4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6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6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6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237523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CFBB21C-610C-4479-8329-40032A76C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5966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CFBB21C-610C-4479-8329-40032A76C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D26391B-1B66-41F8-9FF7-E099C58466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31665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12838E-A9A3-429F-9DAF-B1CB53B26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42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12838E-A9A3-429F-9DAF-B1CB53B26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EC6C8472-1441-4E04-8D06-5FFE59E707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3A174AE-BB7A-4AB0-9DF5-4628D606C30C}" type="datetime2">
              <a:rPr lang="en-US" smtClean="0"/>
              <a:t>Monday, October 20, 202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</a:t>
            </a:r>
            <a:r>
              <a:rPr lang="en-US" err="1"/>
              <a:t>Mea</a:t>
            </a:r>
            <a:r>
              <a:rPr lang="en-US"/>
              <a:t>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283175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9DF8BF-4474-44F7-AE1B-863796BE7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13618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F9DF8BF-4474-44F7-AE1B-863796BE7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23BE91F-E086-4328-991A-FA2D4453FC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4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6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5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199257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C98AC7D-41B1-4045-9CA8-8517755F5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1454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DC98AC7D-41B1-4045-9CA8-8517755F5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DD66F303-136E-4BA9-A511-851CF4B7E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4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2" y="1548822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4" y="155021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2" y="246273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380925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29884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1" y="518479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4" y="2462735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4" y="3376284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4" y="429754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4" y="5187111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Sed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601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3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1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4" y="927102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829003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39897"/>
              </p:ext>
            </p:extLst>
          </p:nvPr>
        </p:nvGraphicFramePr>
        <p:xfrm>
          <a:off x="2122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85A802FE-64CC-49B5-BA41-463B2789FD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05E536-226C-4ACD-A419-14AC5EC82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809" y="217464"/>
            <a:ext cx="10512000" cy="435600"/>
          </a:xfrm>
          <a:prstGeom prst="rect">
            <a:avLst/>
          </a:prstGeom>
        </p:spPr>
        <p:txBody>
          <a:bodyPr wrap="square" lIns="0" rIns="0"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84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pos="2880">
          <p15:clr>
            <a:srgbClr val="FBAE40"/>
          </p15:clr>
        </p15:guide>
        <p15:guide id="3" pos="187">
          <p15:clr>
            <a:srgbClr val="FBAE40"/>
          </p15:clr>
        </p15:guide>
        <p15:guide id="4" pos="5573">
          <p15:clr>
            <a:srgbClr val="FBAE40"/>
          </p15:clr>
        </p15:guide>
        <p15:guide id="5" orient="horz" pos="743">
          <p15:clr>
            <a:srgbClr val="FBAE40"/>
          </p15:clr>
        </p15:guide>
        <p15:guide id="6" orient="horz" pos="403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078920"/>
              </p:ext>
            </p:extLst>
          </p:nvPr>
        </p:nvGraphicFramePr>
        <p:xfrm>
          <a:off x="2131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92" imgH="504" progId="TCLayout.ActiveDocument.1">
                  <p:embed/>
                </p:oleObj>
              </mc:Choice>
              <mc:Fallback>
                <p:oleObj name="Diapositiva de think-cell" r:id="rId4" imgW="492" imgH="50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1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2A263A6D-4296-4D88-9EEA-CBD9F29E64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10880787" y="163902"/>
            <a:ext cx="1150188" cy="923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15160" y="6602596"/>
            <a:ext cx="2844800" cy="248530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101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6109" y="270232"/>
            <a:ext cx="10515600" cy="40262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Haga clic para modificar el estilo de título del patrón</a:t>
            </a:r>
          </a:p>
        </p:txBody>
      </p:sp>
      <p:pic>
        <p:nvPicPr>
          <p:cNvPr id="5" name="Picture 33" descr="Image result for vtr logo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097645" y="189599"/>
            <a:ext cx="801123" cy="4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2994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93" imgH="493" progId="TCLayout.ActiveDocument.1">
                  <p:embed/>
                </p:oleObj>
              </mc:Choice>
              <mc:Fallback>
                <p:oleObj name="Diapositiva de think-cell" r:id="rId3" imgW="493" imgH="49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19" y="102818"/>
            <a:ext cx="11778796" cy="2931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41" y="1306077"/>
            <a:ext cx="11251729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172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8087" lvl="0" indent="-249430" algn="l" defTabSz="901451" rtl="0" eaLnBrk="1" fontAlgn="base" latinLnBrk="0" hangingPunct="1">
              <a:lnSpc>
                <a:spcPct val="150000"/>
              </a:lnSpc>
              <a:spcBef>
                <a:spcPts val="551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7761738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55035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876988"/>
            <a:ext cx="12192000" cy="5651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>
              <a:latin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-1"/>
            <a:ext cx="11476299" cy="8769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dirty="0">
                <a:latin typeface="Corbel" panose="020B0503020204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092200"/>
            <a:ext cx="11480800" cy="5283200"/>
          </a:xfrm>
        </p:spPr>
        <p:txBody>
          <a:bodyPr>
            <a:normAutofit/>
          </a:bodyPr>
          <a:lstStyle>
            <a:lvl1pPr marL="457189" indent="-457189">
              <a:buFont typeface="Arial" pitchFamily="34" charset="0"/>
              <a:buChar char="•"/>
              <a:defRPr sz="2667">
                <a:latin typeface="Corbel" panose="020B0503020204020204" pitchFamily="34" charset="0"/>
              </a:defRPr>
            </a:lvl1pPr>
            <a:lvl2pPr marL="990575" indent="-380990">
              <a:buFont typeface="Arial" pitchFamily="34" charset="0"/>
              <a:buChar char="•"/>
              <a:defRPr sz="2400">
                <a:latin typeface="Corbel" panose="020B0503020204020204" pitchFamily="34" charset="0"/>
              </a:defRPr>
            </a:lvl2pPr>
            <a:lvl3pPr marL="1523962" indent="-304792">
              <a:buFont typeface="Arial" pitchFamily="34" charset="0"/>
              <a:buChar char="•"/>
              <a:defRPr sz="2133">
                <a:latin typeface="Corbel" panose="020B0503020204020204" pitchFamily="34" charset="0"/>
              </a:defRPr>
            </a:lvl3pPr>
            <a:lvl4pPr marL="2133547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4pPr>
            <a:lvl5pPr marL="2743131" indent="-304792">
              <a:buFont typeface="Arial" pitchFamily="34" charset="0"/>
              <a:buChar char="•"/>
              <a:defRPr sz="1867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096000" y="6707262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bg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36023" y="6640679"/>
            <a:ext cx="508000" cy="1915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203200" y="6636446"/>
            <a:ext cx="2032000" cy="2000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33">
                <a:solidFill>
                  <a:schemeClr val="tx1"/>
                </a:solidFill>
                <a:latin typeface="Corbel" panose="020B0503020204020204" pitchFamily="34" charset="0"/>
              </a:rPr>
              <a:t>Confidential &amp; Restricted</a:t>
            </a:r>
          </a:p>
        </p:txBody>
      </p:sp>
      <p:pic>
        <p:nvPicPr>
          <p:cNvPr id="17" name="Picture 2" descr="C:\Users\RAGHAV~1.MG\AppData\Local\Temp\Rar$DRa0.974\prodapt-logo-tran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11074400" y="6599481"/>
            <a:ext cx="808299" cy="22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 userDrawn="1"/>
        </p:nvSpPr>
        <p:spPr>
          <a:xfrm rot="10800000">
            <a:off x="11487960" y="177801"/>
            <a:ext cx="508800" cy="5088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59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1C7DF17-DA3C-48C3-9DA4-B3581C944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1C7DF17-DA3C-48C3-9DA4-B3581C94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113ED5A2-EF0D-4D88-9E59-8326B06473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45ED85-C121-4CA6-9C0F-F5FD0435769D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84766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5552740-4228-4285-887F-AB772DF6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5552740-4228-4285-887F-AB772DF6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5F91E1F3-2BEF-4354-937C-2864A86615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93812-1C99-4DA3-9F04-4BE0DDBB6E67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4416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899EAE-A1EF-4708-8F2F-C63ED0412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6" imgH="416" progId="TCLayout.ActiveDocument.1">
                  <p:embed/>
                </p:oleObj>
              </mc:Choice>
              <mc:Fallback>
                <p:oleObj name="Diapositiva de think-cell" r:id="rId4" imgW="416" imgH="41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899EAE-A1EF-4708-8F2F-C63ED0412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03FE2C61-42A3-4EB6-A0AF-222167CA6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Light"/>
              <a:ea typeface="+mn-ea"/>
              <a:cs typeface="+mn-cs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 eaLnBrk="1"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097A3-845D-4C79-9B10-713A187117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7CB4AF-90BF-432B-AE7E-BF2637A8162A}" type="datetime2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October 20, 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2833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13.pn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5.xml"/><Relationship Id="rId34" Type="http://schemas.openxmlformats.org/officeDocument/2006/relationships/tags" Target="../tags/tag63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tags" Target="../tags/tag125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0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slideLayout" Target="../slideLayouts/slideLayout160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37" Type="http://schemas.openxmlformats.org/officeDocument/2006/relationships/tags" Target="../tags/tag190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35" Type="http://schemas.openxmlformats.org/officeDocument/2006/relationships/slideLayout" Target="../slideLayouts/slideLayout162.xml"/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5994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7" imgW="416" imgH="416" progId="TCLayout.ActiveDocument.1">
                  <p:embed/>
                </p:oleObj>
              </mc:Choice>
              <mc:Fallback>
                <p:oleObj name="Diapositiva de think-cell" r:id="rId37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01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311" r:id="rId28"/>
    <p:sldLayoutId id="2147484312" r:id="rId29"/>
    <p:sldLayoutId id="2147484622" r:id="rId30"/>
    <p:sldLayoutId id="2147484623" r:id="rId31"/>
    <p:sldLayoutId id="2147484624" r:id="rId32"/>
    <p:sldLayoutId id="2147484625" r:id="rId33"/>
    <p:sldLayoutId id="2147484626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3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8600"/>
            <a:ext cx="11576050" cy="535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9144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 Placeholder 1"/>
          <p:cNvSpPr>
            <a:spLocks noGrp="1"/>
          </p:cNvSpPr>
          <p:nvPr userDrawn="1">
            <p:ph type="body" idx="1"/>
          </p:nvPr>
        </p:nvSpPr>
        <p:spPr bwMode="gray">
          <a:xfrm>
            <a:off x="304800" y="1325564"/>
            <a:ext cx="11576050" cy="4554536"/>
          </a:xfrm>
          <a:prstGeom prst="rect">
            <a:avLst/>
          </a:prstGeom>
        </p:spPr>
        <p:txBody>
          <a:bodyPr vert="horz" lIns="0" tIns="0" rIns="4572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12"/>
          <p:cNvSpPr txBox="1">
            <a:spLocks/>
          </p:cNvSpPr>
          <p:nvPr userDrawn="1"/>
        </p:nvSpPr>
        <p:spPr bwMode="gray">
          <a:xfrm>
            <a:off x="304801" y="6446090"/>
            <a:ext cx="2957512" cy="9695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lang="en-US" sz="700" b="0" kern="120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572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l">
              <a:spcBef>
                <a:spcPts val="0"/>
              </a:spcBef>
              <a:spcAft>
                <a:spcPts val="600"/>
              </a:spcAft>
              <a:tabLst>
                <a:tab pos="228600" algn="l"/>
              </a:tabLst>
            </a:pPr>
            <a:fld id="{46808349-582F-4D2B-AF22-1E3714E0589A}" type="slidenum">
              <a:rPr>
                <a:solidFill>
                  <a:srgbClr val="B2B2B2"/>
                </a:solidFill>
              </a:rPr>
              <a:pPr algn="l">
                <a:spcBef>
                  <a:spcPts val="0"/>
                </a:spcBef>
                <a:spcAft>
                  <a:spcPts val="600"/>
                </a:spcAft>
                <a:tabLst>
                  <a:tab pos="228600" algn="l"/>
                </a:tabLst>
              </a:pPr>
              <a:t>‹Nº›</a:t>
            </a:fld>
            <a:r>
              <a:rPr>
                <a:solidFill>
                  <a:srgbClr val="B2B2B2"/>
                </a:solidFill>
              </a:rPr>
              <a:t>	© 2017 Gartner, Inc. and/or its affiliates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0359" y="6200775"/>
            <a:ext cx="1420491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7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  <p:sldLayoutId id="2147484497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08" r:id="rId24"/>
    <p:sldLayoutId id="2147484509" r:id="rId25"/>
    <p:sldLayoutId id="2147484510" r:id="rId26"/>
    <p:sldLayoutId id="2147484511" r:id="rId27"/>
    <p:sldLayoutId id="2147484512" r:id="rId28"/>
    <p:sldLayoutId id="2147484513" r:id="rId29"/>
    <p:sldLayoutId id="2147484514" r:id="rId30"/>
  </p:sldLayoutIdLst>
  <p:transition/>
  <p:hf sldNum="0" hdr="0" ftr="0" dt="0"/>
  <p:txStyles>
    <p:titleStyle>
      <a:lvl1pPr marL="0" marR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200" b="1" dirty="0" smtClean="0">
          <a:solidFill>
            <a:srgbClr val="00529B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274306" marR="0" indent="-274306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rgbClr val="00529B"/>
        </a:buClr>
        <a:buSzPct val="90000"/>
        <a:buFont typeface="Wingdings" panose="05000000000000000000" pitchFamily="2" charset="2"/>
        <a:buChar char="§"/>
        <a:defRPr lang="en-US" sz="28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008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tabLst/>
        <a:defRPr lang="en-US" sz="24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1440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3444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Arial" panose="020B0604020202020204" pitchFamily="34" charset="0"/>
        <a:buChar char="–"/>
        <a:defRPr lang="en-US" sz="2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08760" marR="0" indent="-27432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Tx/>
        <a:buSzPct val="90000"/>
        <a:buFont typeface="Wingdings" panose="05000000000000000000" pitchFamily="2" charset="2"/>
        <a:buChar char="§"/>
        <a:defRPr lang="en-US" sz="2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954115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411293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868471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325648" indent="-173030" algn="l" rtl="0" eaLnBrk="1" fontAlgn="base" hangingPunct="1">
        <a:lnSpc>
          <a:spcPct val="90000"/>
        </a:lnSpc>
        <a:spcBef>
          <a:spcPct val="30000"/>
        </a:spcBef>
        <a:spcAft>
          <a:spcPct val="10000"/>
        </a:spcAft>
        <a:buClr>
          <a:schemeClr val="tx1"/>
        </a:buClr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91">
          <p15:clr>
            <a:srgbClr val="5ACBF0"/>
          </p15:clr>
        </p15:guide>
        <p15:guide id="2" pos="290">
          <p15:clr>
            <a:srgbClr val="5ACBF0"/>
          </p15:clr>
        </p15:guide>
        <p15:guide id="3" orient="horz" pos="768">
          <p15:clr>
            <a:srgbClr val="5ACBF0"/>
          </p15:clr>
        </p15:guide>
        <p15:guide id="4" orient="horz" pos="4109">
          <p15:clr>
            <a:srgbClr val="5ACBF0"/>
          </p15:clr>
        </p15:guide>
        <p15:guide id="5" orient="horz" pos="835">
          <p15:clr>
            <a:srgbClr val="5ACBF0"/>
          </p15:clr>
        </p15:guide>
        <p15:guide id="6" orient="horz" pos="4056">
          <p15:clr>
            <a:srgbClr val="5ACBF0"/>
          </p15:clr>
        </p15:guide>
        <p15:guide id="7" orient="horz" pos="194">
          <p15:clr>
            <a:srgbClr val="5ACBF0"/>
          </p15:clr>
        </p15:guide>
        <p15:guide id="8" pos="192">
          <p15:clr>
            <a:srgbClr val="5ACBF0"/>
          </p15:clr>
        </p15:guide>
        <p15:guide id="9" pos="7484">
          <p15:clr>
            <a:srgbClr val="5ACBF0"/>
          </p15:clr>
        </p15:guide>
        <p15:guide id="10" orient="horz" pos="3906">
          <p15:clr>
            <a:srgbClr val="5ACBF0"/>
          </p15:clr>
        </p15:guide>
        <p15:guide id="11" pos="1900">
          <p15:clr>
            <a:srgbClr val="5ACBF0"/>
          </p15:clr>
        </p15:guide>
        <p15:guide id="12" pos="2055">
          <p15:clr>
            <a:srgbClr val="5ACBF0"/>
          </p15:clr>
        </p15:guide>
        <p15:guide id="13" pos="3764">
          <p15:clr>
            <a:srgbClr val="5ACBF0"/>
          </p15:clr>
        </p15:guide>
        <p15:guide id="14" pos="3917">
          <p15:clr>
            <a:srgbClr val="5ACBF0"/>
          </p15:clr>
        </p15:guide>
        <p15:guide id="15" pos="5624">
          <p15:clr>
            <a:srgbClr val="5ACBF0"/>
          </p15:clr>
        </p15:guide>
        <p15:guide id="16" pos="5780">
          <p15:clr>
            <a:srgbClr val="5ACBF0"/>
          </p15:clr>
        </p15:guide>
        <p15:guide id="17" orient="horz" pos="3704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656281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5" imgW="416" imgH="416" progId="TCLayout.ActiveDocument.1">
                  <p:embed/>
                </p:oleObj>
              </mc:Choice>
              <mc:Fallback>
                <p:oleObj name="Diapositiva de think-cell" r:id="rId35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4" y="207734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5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2" y="6575303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1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7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  <p:sldLayoutId id="2147484522" r:id="rId5"/>
    <p:sldLayoutId id="2147484523" r:id="rId6"/>
    <p:sldLayoutId id="2147484524" r:id="rId7"/>
    <p:sldLayoutId id="2147484525" r:id="rId8"/>
    <p:sldLayoutId id="2147484526" r:id="rId9"/>
    <p:sldLayoutId id="2147484527" r:id="rId10"/>
    <p:sldLayoutId id="2147484528" r:id="rId11"/>
    <p:sldLayoutId id="2147484529" r:id="rId12"/>
    <p:sldLayoutId id="2147484530" r:id="rId13"/>
    <p:sldLayoutId id="2147484531" r:id="rId14"/>
    <p:sldLayoutId id="2147484532" r:id="rId15"/>
    <p:sldLayoutId id="2147484533" r:id="rId16"/>
    <p:sldLayoutId id="2147484534" r:id="rId17"/>
    <p:sldLayoutId id="2147484535" r:id="rId18"/>
    <p:sldLayoutId id="2147484536" r:id="rId19"/>
    <p:sldLayoutId id="2147484537" r:id="rId20"/>
    <p:sldLayoutId id="2147484538" r:id="rId21"/>
    <p:sldLayoutId id="2147484539" r:id="rId22"/>
    <p:sldLayoutId id="2147484540" r:id="rId23"/>
    <p:sldLayoutId id="2147484541" r:id="rId24"/>
    <p:sldLayoutId id="2147484542" r:id="rId25"/>
    <p:sldLayoutId id="2147484543" r:id="rId26"/>
    <p:sldLayoutId id="2147484544" r:id="rId27"/>
    <p:sldLayoutId id="2147484545" r:id="rId28"/>
    <p:sldLayoutId id="2147484546" r:id="rId29"/>
    <p:sldLayoutId id="2147484547" r:id="rId30"/>
    <p:sldLayoutId id="2147484548" r:id="rId31"/>
    <p:sldLayoutId id="2147484550" r:id="rId3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416" imgH="416" progId="TCLayout.ActiveDocument.1">
                  <p:embed/>
                </p:oleObj>
              </mc:Choice>
              <mc:Fallback>
                <p:oleObj name="Diapositiva de think-cell" r:id="rId34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3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585" r:id="rId29"/>
    <p:sldLayoutId id="2147484586" r:id="rId30"/>
    <p:sldLayoutId id="2147484587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10">
          <a:fgClr>
            <a:schemeClr val="bg1"/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0A5C1F4-BE84-4D24-B015-E089F495B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8" imgW="416" imgH="416" progId="TCLayout.ActiveDocument.1">
                  <p:embed/>
                </p:oleObj>
              </mc:Choice>
              <mc:Fallback>
                <p:oleObj name="Diapositiva de think-cell" r:id="rId38" imgW="416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0A5C1F4-BE84-4D24-B015-E089F495B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 userDrawn="1"/>
        </p:nvGrpSpPr>
        <p:grpSpPr>
          <a:xfrm>
            <a:off x="182404" y="6464300"/>
            <a:ext cx="3518293" cy="221722"/>
            <a:chOff x="182404" y="6464300"/>
            <a:chExt cx="3518293" cy="221722"/>
          </a:xfrm>
        </p:grpSpPr>
        <p:cxnSp>
          <p:nvCxnSpPr>
            <p:cNvPr id="28" name="Straight Connector 27"/>
            <p:cNvCxnSpPr/>
            <p:nvPr userDrawn="1"/>
          </p:nvCxnSpPr>
          <p:spPr>
            <a:xfrm>
              <a:off x="2548398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370281" y="6558017"/>
              <a:ext cx="1144933" cy="0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82404" y="6564191"/>
              <a:ext cx="1149102" cy="14409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  <a:headEnd type="none" w="med" len="med"/>
              <a:tailEnd type="none" w="med" len="med"/>
            </a:ln>
            <a:effectLst>
              <a:outerShdw blurRad="50800" dist="12700" dir="16200000" rotWithShape="0">
                <a:schemeClr val="tx1">
                  <a:lumMod val="50000"/>
                  <a:alpha val="8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ounded Rectangle 31"/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ounded Rectangle 32"/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ounded Rectangle 35"/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E383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1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598" r:id="rId10"/>
    <p:sldLayoutId id="2147484599" r:id="rId11"/>
    <p:sldLayoutId id="2147484600" r:id="rId12"/>
    <p:sldLayoutId id="2147484601" r:id="rId13"/>
    <p:sldLayoutId id="2147484602" r:id="rId14"/>
    <p:sldLayoutId id="2147484603" r:id="rId15"/>
    <p:sldLayoutId id="2147484604" r:id="rId16"/>
    <p:sldLayoutId id="2147484605" r:id="rId17"/>
    <p:sldLayoutId id="2147484606" r:id="rId18"/>
    <p:sldLayoutId id="2147484607" r:id="rId19"/>
    <p:sldLayoutId id="2147484608" r:id="rId20"/>
    <p:sldLayoutId id="2147484609" r:id="rId21"/>
    <p:sldLayoutId id="2147484610" r:id="rId22"/>
    <p:sldLayoutId id="2147484611" r:id="rId23"/>
    <p:sldLayoutId id="2147484612" r:id="rId24"/>
    <p:sldLayoutId id="2147484613" r:id="rId25"/>
    <p:sldLayoutId id="2147484614" r:id="rId26"/>
    <p:sldLayoutId id="2147484615" r:id="rId27"/>
    <p:sldLayoutId id="2147484616" r:id="rId28"/>
    <p:sldLayoutId id="2147484618" r:id="rId29"/>
    <p:sldLayoutId id="2147484619" r:id="rId30"/>
    <p:sldLayoutId id="2147484620" r:id="rId31"/>
    <p:sldLayoutId id="2147484627" r:id="rId32"/>
    <p:sldLayoutId id="2147484628" r:id="rId33"/>
    <p:sldLayoutId id="2147484633" r:id="rId34"/>
    <p:sldLayoutId id="2147484634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7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6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BFBC2-D8BC-8A4E-B07D-C5EC72FEF2B2}" type="datetime2">
              <a:rPr lang="en-GB" smtClean="0"/>
              <a:pPr/>
              <a:t>Monday, 20 October 2025</a:t>
            </a:fld>
            <a:endParaRPr lang="en-US"/>
          </a:p>
        </p:txBody>
      </p: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B50309FA-209A-493C-BBEC-EEC8F0D526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9244" y="5336502"/>
            <a:ext cx="2002756" cy="10464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365F299-A0A7-AC31-1B81-182831664551}"/>
              </a:ext>
            </a:extLst>
          </p:cNvPr>
          <p:cNvSpPr txBox="1"/>
          <p:nvPr/>
        </p:nvSpPr>
        <p:spPr>
          <a:xfrm rot="10800000" flipV="1">
            <a:off x="2035064" y="5059503"/>
            <a:ext cx="8154180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dirty="0">
                <a:solidFill>
                  <a:srgbClr val="3E3838"/>
                </a:solidFill>
              </a:rPr>
              <a:t>AWS Elastic Disaster Recovery (DRS)</a:t>
            </a:r>
            <a:endParaRPr lang="en-US" sz="3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7024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44427-A89E-EC01-707A-FC7668912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7E91FB-EC0C-75E5-E462-9D8A82D3F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99A9AB-92A5-CA13-1302-D058321744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20BEAF-5275-1218-60B4-21520A8991AA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60EE6AF-AB60-2CCC-5F1B-E2FA13129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638" y="1857943"/>
            <a:ext cx="9874370" cy="42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120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8CAE20-8E2A-ACFE-1A4F-B23A499C1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3FBDE36-D694-9A70-8252-7C12802BD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AF3E3B5-F262-D88B-0E39-778B0E57D4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3C60D5-7F58-0ABF-BF68-A55CB3D95A4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5B432B3-F89A-F19C-93F2-AA6EB808B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774" y="1808335"/>
            <a:ext cx="9303308" cy="423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08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07D49-35D0-312A-07DF-5F9329FF5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82341D-1910-FE3C-FEF8-4BB88D04A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EEF7DA-C8BD-06A5-69EA-F955128D82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1DF933-4B1B-2BDA-7ED7-0538042413C2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06E250E-FD29-8BE7-DD01-362719B0B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735" y="2000647"/>
            <a:ext cx="10391956" cy="354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8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B9357-02BD-4433-AF53-8671DACBF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98C916-E987-A7FB-0936-D82C9E77B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C85EF3-A48A-78F4-9033-EBF20E13D2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E6A640-428C-AB2B-D864-E82C84FD9F3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BB9865F-F406-2D83-6A07-4F853F3FF0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804" y="2245180"/>
            <a:ext cx="9563818" cy="236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61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E197A-67F6-DA9A-F731-EB95B82CB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A665C5-91E7-6C55-7638-52CC94247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35F684-7E69-98DE-584B-35ED510D4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5F460E-5BB6-314C-038B-563F14D3A46E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Configuración del servic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57699EF-67D6-2DE5-BAE6-DFE4FBADF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956" y="2070340"/>
            <a:ext cx="9959514" cy="354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13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599104-8543-824C-14E3-7672E59C0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191D71-7708-C047-1F06-EC423DCCC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EC97EE-70EB-0B0A-55AD-55EB0870F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15B855C-6C88-0BFA-5EF6-7E9EE495E1E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1D10BA5-DDCA-A245-F5D6-51997A832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609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816DFD-2A35-9D83-CD56-3B31E0CB1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80B58C-9C2D-3E1D-ED65-4A31E219D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F2AD24-5B61-C78F-B4D3-75E03FDBAE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741A6C-7575-41B3-073E-DA5F6EA364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B6411A3-708D-A602-FD6A-E96475697E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0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31DCBD-03D9-F6A6-71EA-47517C260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521995-600B-B7B9-173E-D65DF346D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370244-85BF-F69B-BBC7-44329F04B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320172-CB6A-F234-13DD-63EA540FB7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FailBack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3653FA4-9B5D-3C63-CA3A-CBB3A0348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614" y="1641935"/>
            <a:ext cx="5371384" cy="444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513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6DA3C-043B-598A-A73A-519AABB55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041E4A-6688-9871-D3F3-2B8E02009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CEE4F5-E093-D9CC-E629-A2DAC488AA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334D3E-83DC-5D88-D943-C6ACF91A783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Bill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ACE87A1-2F93-0CC9-E4F2-4EF55A1B0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683" y="2051412"/>
            <a:ext cx="4646762" cy="38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39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BB276-43A0-28B1-AC59-0B749AE20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87A95A-BEBC-B2E2-465C-5C66F2E6D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5C7E8F-03F3-81F1-5075-5F2915804B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FDEABA-E7E3-A25C-1DDE-5273ACFEE32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0944DB4-51D4-924A-C36E-4E6115EB1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892" y="2918564"/>
            <a:ext cx="3795892" cy="164811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EAE9E84-94B5-1703-BE6A-6532212F8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635" y="2918564"/>
            <a:ext cx="2270267" cy="164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491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373CC-B92F-EB8E-B974-6C9EDE5D5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F7177F9-A818-CD34-DA0E-A80CA82D6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09F0AA-3326-33C3-6F4E-B887499C7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292F3F-2053-25F4-928F-40AD6F93176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323406F-7D8F-EDB0-8384-80D95C985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122" y="2301623"/>
            <a:ext cx="6464632" cy="280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1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9AFC4-3A32-99E0-C577-A20FDE709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A233F1-5598-5EFD-FA82-5FC69EF8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FC2DD7-5A0C-3041-5FAD-BB05E262AD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8499C-AED8-F7AF-850C-135F39249BA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 LABORATORI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39C2C9E-334E-7900-2E7A-060F9D69A952}"/>
              </a:ext>
            </a:extLst>
          </p:cNvPr>
          <p:cNvSpPr txBox="1"/>
          <p:nvPr/>
        </p:nvSpPr>
        <p:spPr>
          <a:xfrm>
            <a:off x="3501025" y="3375764"/>
            <a:ext cx="3951961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DRAWIO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082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9EBE0-0DB6-D54B-179E-CEA12EED6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9FA73D-CFC3-DA54-5B5A-B74E9795C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FC04FF-45A6-FAF6-902F-DB5D8381D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DE08B7-B0E1-E744-8578-90C783BF2BB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SES DEL PROCEDIMIEN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D535FC8-B74A-08F6-0CBE-E36E7139A8F0}"/>
              </a:ext>
            </a:extLst>
          </p:cNvPr>
          <p:cNvSpPr txBox="1"/>
          <p:nvPr/>
        </p:nvSpPr>
        <p:spPr>
          <a:xfrm>
            <a:off x="1986785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9A3587E-EA9B-03AF-CD0A-A2F52E7B7D3F}"/>
              </a:ext>
            </a:extLst>
          </p:cNvPr>
          <p:cNvSpPr txBox="1"/>
          <p:nvPr/>
        </p:nvSpPr>
        <p:spPr>
          <a:xfrm>
            <a:off x="432497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over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FA66EAA-7FC6-0253-B61E-EB9BC06E4849}"/>
              </a:ext>
            </a:extLst>
          </p:cNvPr>
          <p:cNvSpPr txBox="1"/>
          <p:nvPr/>
        </p:nvSpPr>
        <p:spPr>
          <a:xfrm>
            <a:off x="9174636" y="5624186"/>
            <a:ext cx="140082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Failback</a:t>
            </a:r>
            <a:endParaRPr lang="es-CO" sz="2400" b="1" dirty="0">
              <a:solidFill>
                <a:srgbClr val="00000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E5FF41F-D308-2ABA-E38B-3EBE768FD48F}"/>
              </a:ext>
            </a:extLst>
          </p:cNvPr>
          <p:cNvSpPr txBox="1"/>
          <p:nvPr/>
        </p:nvSpPr>
        <p:spPr>
          <a:xfrm>
            <a:off x="6742500" y="5630449"/>
            <a:ext cx="10960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Réplica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76819F33-02E5-5B99-0F83-3E7D914B0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2723" y="4498000"/>
            <a:ext cx="1924149" cy="74298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25410C34-167A-567C-1ADB-F1442427E9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53" r="4736" b="-12821"/>
          <a:stretch>
            <a:fillRect/>
          </a:stretch>
        </p:blipFill>
        <p:spPr>
          <a:xfrm>
            <a:off x="6306855" y="4498000"/>
            <a:ext cx="1924149" cy="838243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B4DE9745-E0BC-F8AD-527D-E488CE397381}"/>
              </a:ext>
            </a:extLst>
          </p:cNvPr>
          <p:cNvSpPr txBox="1"/>
          <p:nvPr/>
        </p:nvSpPr>
        <p:spPr>
          <a:xfrm>
            <a:off x="5010776" y="3313227"/>
            <a:ext cx="12171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Agente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D57552AC-1453-F21E-FD87-C020DF4E6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7123" y="2187041"/>
            <a:ext cx="994160" cy="985323"/>
          </a:xfrm>
          <a:prstGeom prst="rect">
            <a:avLst/>
          </a:prstGeom>
        </p:spPr>
      </p:pic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F6C27BAA-F3F4-436F-BF36-6D560FA5C8FD}"/>
              </a:ext>
            </a:extLst>
          </p:cNvPr>
          <p:cNvCxnSpPr>
            <a:cxnSpLocks/>
          </p:cNvCxnSpPr>
          <p:nvPr/>
        </p:nvCxnSpPr>
        <p:spPr>
          <a:xfrm flipH="1">
            <a:off x="3478216" y="3682559"/>
            <a:ext cx="1125099" cy="513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n 23">
            <a:extLst>
              <a:ext uri="{FF2B5EF4-FFF2-40B4-BE49-F238E27FC236}">
                <a16:creationId xmlns:a16="http://schemas.microsoft.com/office/drawing/2014/main" id="{9E297D59-237A-398D-7927-7DBEA0A413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2283" y="4498000"/>
            <a:ext cx="1528391" cy="74298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22CF8099-A118-0BC8-E03C-4E8B00975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9716" y="4507073"/>
            <a:ext cx="1759561" cy="724841"/>
          </a:xfrm>
          <a:prstGeom prst="rect">
            <a:avLst/>
          </a:prstGeom>
        </p:spPr>
      </p:pic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5BB4AD87-AF51-2970-4770-79108F67F790}"/>
              </a:ext>
            </a:extLst>
          </p:cNvPr>
          <p:cNvCxnSpPr>
            <a:cxnSpLocks/>
          </p:cNvCxnSpPr>
          <p:nvPr/>
        </p:nvCxnSpPr>
        <p:spPr>
          <a:xfrm>
            <a:off x="3626232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E324C556-AD2F-A111-4BCD-29E9C7413B0B}"/>
              </a:ext>
            </a:extLst>
          </p:cNvPr>
          <p:cNvCxnSpPr>
            <a:cxnSpLocks/>
          </p:cNvCxnSpPr>
          <p:nvPr/>
        </p:nvCxnSpPr>
        <p:spPr>
          <a:xfrm>
            <a:off x="5837103" y="4869494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CDB89CB2-2795-2F5D-1CC7-9745DED8E38F}"/>
              </a:ext>
            </a:extLst>
          </p:cNvPr>
          <p:cNvCxnSpPr>
            <a:cxnSpLocks/>
          </p:cNvCxnSpPr>
          <p:nvPr/>
        </p:nvCxnSpPr>
        <p:spPr>
          <a:xfrm>
            <a:off x="8331871" y="4869493"/>
            <a:ext cx="388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7032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13E3B-600B-D05D-86B5-BE59A1118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3FE1AC-ED36-D4BF-51ED-B59512FC5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EA419-8BF7-8C35-A2AF-A2829AEAF4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98C3A-5582-3EED-FEEF-A2DEE748123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C63A98E-823A-3F11-CD21-A11EC4570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1494" y="2307027"/>
            <a:ext cx="1983716" cy="19128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C53B5CF-1EE3-C04C-BB6B-BB2537CCF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007" y="2374900"/>
            <a:ext cx="4369925" cy="184494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AAE490A-03D2-9920-538D-0CDC22FB4B42}"/>
              </a:ext>
            </a:extLst>
          </p:cNvPr>
          <p:cNvSpPr txBox="1"/>
          <p:nvPr/>
        </p:nvSpPr>
        <p:spPr>
          <a:xfrm>
            <a:off x="2429390" y="5011409"/>
            <a:ext cx="6852645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/>
            <a:r>
              <a:rPr lang="es-ES" sz="2400" b="1" dirty="0">
                <a:solidFill>
                  <a:srgbClr val="000000"/>
                </a:solidFill>
              </a:rPr>
              <a:t>RUN COMMAND:</a:t>
            </a:r>
          </a:p>
          <a:p>
            <a:pPr algn="ctr"/>
            <a:r>
              <a:rPr lang="es-CO" dirty="0"/>
              <a:t>AWSDisasterRecovery</a:t>
            </a:r>
            <a:endParaRPr lang="es-ES" sz="2400" b="1" dirty="0">
              <a:solidFill>
                <a:srgbClr val="000000"/>
              </a:solidFill>
            </a:endParaRPr>
          </a:p>
          <a:p>
            <a:pPr algn="ctr"/>
            <a:r>
              <a:rPr lang="es-CO" sz="2400" dirty="0">
                <a:solidFill>
                  <a:srgbClr val="000000"/>
                </a:solidFill>
              </a:rPr>
              <a:t>AWSDisasterRecovery-InstallDRAgentOnInstance</a:t>
            </a:r>
          </a:p>
        </p:txBody>
      </p:sp>
    </p:spTree>
    <p:extLst>
      <p:ext uri="{BB962C8B-B14F-4D97-AF65-F5344CB8AC3E}">
        <p14:creationId xmlns:p14="http://schemas.microsoft.com/office/powerpoint/2010/main" val="25385372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5325B-45A1-9D95-485E-A728CBF7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D6E2D4-19CD-C7E9-960D-3E1368FF9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DF17692-2C87-D7B5-0FAF-170536749C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C30BF9-3AB5-5578-5CA4-45DB40C8B7E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840B8E1-FD0D-8B42-01E6-2FDDAC471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A20DC835-5644-0FED-E6DA-3F9F73C9E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8098" y="2589756"/>
            <a:ext cx="1109634" cy="123806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9BF7B7F9-7024-8B4E-DB3E-BD586743DD48}"/>
              </a:ext>
            </a:extLst>
          </p:cNvPr>
          <p:cNvSpPr txBox="1"/>
          <p:nvPr/>
        </p:nvSpPr>
        <p:spPr>
          <a:xfrm>
            <a:off x="3109367" y="3310839"/>
            <a:ext cx="7446722" cy="25853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dirty="0">
                <a:solidFill>
                  <a:srgbClr val="000000"/>
                </a:solidFill>
              </a:rPr>
              <a:t>AmazonSSMManagedInstanceCor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Ec2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dirty="0">
                <a:solidFill>
                  <a:srgbClr val="000000"/>
                </a:solidFill>
              </a:rPr>
              <a:t>AWSElasticDisasterRecoveryRecoveryInstancePolic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E7B408E-A991-BE58-009B-E0F9C96AF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7930" y="3160527"/>
            <a:ext cx="481139" cy="492074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94DB0D75-2DF4-7C94-B634-7D0A41B0A2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6912" y="3943403"/>
            <a:ext cx="472391" cy="49207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DB6F848-1995-CA45-CA33-4E7DE547C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10468654" y="4698379"/>
            <a:ext cx="472391" cy="492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13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A1DCC-A1FB-B68D-BC68-9BAAF5766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5AEA10-FE92-E712-8F0B-187F10FB8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EDDE09-9B15-B349-90A9-9B5726007E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A62667-C637-8848-6194-4B0E67655A41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INSTALACIÓN DEL AGENTE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7789389E-DB49-879C-7F7E-EC8989FBC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4839" y="1516461"/>
            <a:ext cx="882500" cy="850958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034E9F9-AE37-1634-7C2C-04FA0DE22BC7}"/>
              </a:ext>
            </a:extLst>
          </p:cNvPr>
          <p:cNvSpPr txBox="1"/>
          <p:nvPr/>
        </p:nvSpPr>
        <p:spPr>
          <a:xfrm>
            <a:off x="2303745" y="2299771"/>
            <a:ext cx="7446722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SSM, el </a:t>
            </a:r>
            <a:r>
              <a:rPr lang="es-ES" sz="2400" b="1" dirty="0">
                <a:solidFill>
                  <a:srgbClr val="000000"/>
                </a:solidFill>
              </a:rPr>
              <a:t>Run Command</a:t>
            </a:r>
            <a:r>
              <a:rPr lang="es-ES" sz="2400" dirty="0">
                <a:solidFill>
                  <a:srgbClr val="000000"/>
                </a:solidFill>
              </a:rPr>
              <a:t> debe completarse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instancia Source:</a:t>
            </a:r>
          </a:p>
          <a:p>
            <a:r>
              <a:rPr lang="es-CO" sz="2400" dirty="0">
                <a:solidFill>
                  <a:srgbClr val="000000"/>
                </a:solidFill>
              </a:rPr>
              <a:t>	systemctl status aws-replication-agent</a:t>
            </a:r>
          </a:p>
          <a:p>
            <a:endParaRPr lang="es-CO" sz="2400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>
              <a:solidFill>
                <a:srgbClr val="000000"/>
              </a:solidFill>
            </a:endParaRPr>
          </a:p>
          <a:p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440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39A0B-A0B2-C497-27F9-55A307E1A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EE24BAC-C512-B354-6C27-158017790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4FA3429-2715-7EF1-CF50-89BE88BE7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2E6A45-A57E-324A-1178-196A5981509C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96E3635-D8AE-F59D-1890-CFA6EC808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5C5FFD0-9DFC-660D-73D3-D565F62750FF}"/>
              </a:ext>
            </a:extLst>
          </p:cNvPr>
          <p:cNvSpPr txBox="1"/>
          <p:nvPr/>
        </p:nvSpPr>
        <p:spPr>
          <a:xfrm>
            <a:off x="714087" y="1544390"/>
            <a:ext cx="744672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la Consola de AWS &gt; DRS &gt; </a:t>
            </a:r>
            <a:r>
              <a:rPr lang="es-ES" sz="2400" b="1" dirty="0">
                <a:solidFill>
                  <a:srgbClr val="000000"/>
                </a:solidFill>
              </a:rPr>
              <a:t>Source servers</a:t>
            </a:r>
            <a:endParaRPr lang="es-CO" sz="2400" b="1" dirty="0">
              <a:solidFill>
                <a:srgbClr val="000000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99EB66C-D863-AAF3-4369-6788EF84B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1676" y="2730674"/>
            <a:ext cx="6937792" cy="1158658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B11CB3EC-5E32-9CD8-63E0-F231652AB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1675" y="4011460"/>
            <a:ext cx="3063675" cy="92553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49848A2-C107-9FB3-EC4B-B7801FD4C0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5207" y="3981506"/>
            <a:ext cx="2960898" cy="95549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60B983A-77E2-DF77-9960-F04B4D9F9E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675" y="5059124"/>
            <a:ext cx="7483840" cy="122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699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FE391-8238-CD49-EC04-D585B5147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880425-436C-F8CC-92BC-186AA6246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B3F582-1D7A-889E-A1B8-F30774B48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4E8BF8-D6AA-8A7C-267F-E423C589DC2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7D5AD5E-E3E8-2564-5F58-6FB2CD6F8A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0A3C7B2-CAF0-928D-7CE0-086D9E23540A}"/>
              </a:ext>
            </a:extLst>
          </p:cNvPr>
          <p:cNvSpPr txBox="1"/>
          <p:nvPr/>
        </p:nvSpPr>
        <p:spPr>
          <a:xfrm>
            <a:off x="714087" y="1544390"/>
            <a:ext cx="8461228" cy="480131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endParaRPr lang="es-E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>
                <a:solidFill>
                  <a:srgbClr val="000000"/>
                </a:solidFill>
              </a:rPr>
              <a:t>En AWS CLI – </a:t>
            </a:r>
            <a:r>
              <a:rPr lang="es-ES" sz="2400" b="1" dirty="0">
                <a:solidFill>
                  <a:srgbClr val="000000"/>
                </a:solidFill>
              </a:rPr>
              <a:t>Initial Sync Tasks</a:t>
            </a:r>
          </a:p>
          <a:p>
            <a:r>
              <a:rPr lang="es-ES" sz="2400" b="1" dirty="0">
                <a:solidFill>
                  <a:srgbClr val="000000"/>
                </a:solidFill>
              </a:rPr>
              <a:t>	</a:t>
            </a:r>
            <a:r>
              <a:rPr lang="en-US" sz="2400" dirty="0">
                <a:solidFill>
                  <a:srgbClr val="000000"/>
                </a:solidFill>
              </a:rPr>
              <a:t>aws drs describe-source-servers --region us-east-2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n-US" sz="2400" dirty="0">
                <a:solidFill>
                  <a:srgbClr val="000000"/>
                </a:solidFill>
                <a:highlight>
                  <a:srgbClr val="FFFF00"/>
                </a:highlight>
              </a:rPr>
              <a:t>describe-replication-server (for failback sync)???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En AWS CLI – </a:t>
            </a:r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 - ebsSnapshots)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aws drs describe-recovery-snapshots --source-server-id s-</a:t>
            </a:r>
            <a:r>
              <a:rPr lang="en-US" sz="2400" dirty="0" err="1">
                <a:solidFill>
                  <a:srgbClr val="000000"/>
                </a:solidFill>
              </a:rPr>
              <a:t>xxxxxxxxxxxxxxxxx</a:t>
            </a:r>
            <a:r>
              <a:rPr lang="en-US" sz="2400" dirty="0">
                <a:solidFill>
                  <a:srgbClr val="000000"/>
                </a:solidFill>
              </a:rPr>
              <a:t> --region us-east-2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8B500BE-2857-B522-A605-65FD8DBFF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6431" y="2838423"/>
            <a:ext cx="541594" cy="50730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0FD2ACBB-19EF-CB7D-030A-2124610DFA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129" y="4304545"/>
            <a:ext cx="864226" cy="48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9369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AF37B-CD66-4F1B-FBB8-4C3E9D3F5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A42E91-E3AE-5E6B-73CC-7ADF4F715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C7F82B-3935-830E-18EE-9804787D5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809110-9886-5745-0367-DF52834A3D0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278C959-CBBA-DE1D-155B-AE7A53A42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B63576BF-7FE7-E5BE-5421-497278A4F93C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C4E35A7-E362-535C-913B-E96AAF609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8BC4A72-CEAF-E3F3-AB1B-4595C20FD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4313" y="2843408"/>
            <a:ext cx="1946872" cy="333818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8998CA2-BABD-4842-138B-467A88F8FE11}"/>
              </a:ext>
            </a:extLst>
          </p:cNvPr>
          <p:cNvSpPr txBox="1"/>
          <p:nvPr/>
        </p:nvSpPr>
        <p:spPr>
          <a:xfrm>
            <a:off x="4658518" y="3270248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BFA9D2C-839E-687C-0084-056908356674}"/>
              </a:ext>
            </a:extLst>
          </p:cNvPr>
          <p:cNvSpPr txBox="1"/>
          <p:nvPr/>
        </p:nvSpPr>
        <p:spPr>
          <a:xfrm>
            <a:off x="5200333" y="4326965"/>
            <a:ext cx="4156587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24 snapshots en 1 día – cada 1 hora</a:t>
            </a:r>
            <a:endParaRPr lang="es-CO" sz="2000" dirty="0">
              <a:solidFill>
                <a:srgbClr val="000000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F8978ED-FD46-0CED-D469-B50348897B11}"/>
              </a:ext>
            </a:extLst>
          </p:cNvPr>
          <p:cNvSpPr txBox="1"/>
          <p:nvPr/>
        </p:nvSpPr>
        <p:spPr>
          <a:xfrm>
            <a:off x="5196158" y="5381237"/>
            <a:ext cx="3985065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3 snapshots en 3 días – cada 1 día</a:t>
            </a:r>
            <a:endParaRPr lang="es-CO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637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574770-18B6-7B55-7E1D-0C031442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CAB300-0942-8A99-ACB2-5CBEBDB35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FAABF4-3F91-551A-55D0-96F5BF474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650B48-EAF5-C06E-3C59-0F7E56B0383F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RÉPLICA INICIAL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382DF28-D17A-4027-33FA-97E20D6F7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5549" y="1516460"/>
            <a:ext cx="2076110" cy="850959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57A2840B-D379-3D2F-F9E7-D8E100477E3A}"/>
              </a:ext>
            </a:extLst>
          </p:cNvPr>
          <p:cNvSpPr txBox="1"/>
          <p:nvPr/>
        </p:nvSpPr>
        <p:spPr>
          <a:xfrm>
            <a:off x="714087" y="1544390"/>
            <a:ext cx="8461228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MONITOREO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n-US" sz="2400" b="1" dirty="0">
                <a:solidFill>
                  <a:srgbClr val="000000"/>
                </a:solidFill>
              </a:rPr>
              <a:t>PIT Policy</a:t>
            </a:r>
            <a:r>
              <a:rPr lang="en-US" sz="2400" dirty="0">
                <a:solidFill>
                  <a:srgbClr val="000000"/>
                </a:solidFill>
              </a:rPr>
              <a:t> (Point in Time)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</a:p>
          <a:p>
            <a:r>
              <a:rPr lang="en-US" sz="2400" dirty="0">
                <a:solidFill>
                  <a:srgbClr val="000000"/>
                </a:solidFill>
              </a:rPr>
              <a:t>	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endParaRPr lang="es-CO" sz="2400" dirty="0">
              <a:solidFill>
                <a:srgbClr val="000000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DD1AC76-465E-491A-DB12-079EE0BCF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7433" y="2512279"/>
            <a:ext cx="864226" cy="48666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15A67BE-2AAC-DB72-FE08-9480F494E043}"/>
              </a:ext>
            </a:extLst>
          </p:cNvPr>
          <p:cNvSpPr txBox="1"/>
          <p:nvPr/>
        </p:nvSpPr>
        <p:spPr>
          <a:xfrm>
            <a:off x="714087" y="2652385"/>
            <a:ext cx="4698402" cy="3077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000" dirty="0">
                <a:solidFill>
                  <a:srgbClr val="000000"/>
                </a:solidFill>
              </a:rPr>
              <a:t>6 snapshots en 1 hora – cada 10 minutos</a:t>
            </a:r>
            <a:endParaRPr lang="es-CO" sz="2000" dirty="0">
              <a:solidFill>
                <a:srgbClr val="0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7E54854-9E81-37B7-6EF2-4C326079C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1200" y="3093929"/>
            <a:ext cx="3553036" cy="3216726"/>
          </a:xfrm>
          <a:prstGeom prst="rect">
            <a:avLst/>
          </a:prstGeom>
        </p:spPr>
      </p:pic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359CCCDA-989C-1D35-8EB4-B96FC3598788}"/>
              </a:ext>
            </a:extLst>
          </p:cNvPr>
          <p:cNvCxnSpPr>
            <a:cxnSpLocks/>
          </p:cNvCxnSpPr>
          <p:nvPr/>
        </p:nvCxnSpPr>
        <p:spPr>
          <a:xfrm flipV="1">
            <a:off x="7050430" y="4628367"/>
            <a:ext cx="0" cy="150312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CAF5D17-8781-65D0-D4D9-8DE8FD2501E3}"/>
              </a:ext>
            </a:extLst>
          </p:cNvPr>
          <p:cNvSpPr txBox="1"/>
          <p:nvPr/>
        </p:nvSpPr>
        <p:spPr>
          <a:xfrm>
            <a:off x="6798663" y="4284484"/>
            <a:ext cx="66684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FD1A16"/>
                </a:solidFill>
              </a:rPr>
              <a:t>RPO</a:t>
            </a:r>
            <a:endParaRPr lang="es-CO" sz="2400" b="1" dirty="0">
              <a:solidFill>
                <a:srgbClr val="FD1A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843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7F6C3-6144-BE70-BA8A-8BD849D3AA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3A3F07-C67C-E961-6A3D-59EFE21B1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9D7A8C4-6FB3-27EB-5B7F-C4CAB2900E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pic>
        <p:nvPicPr>
          <p:cNvPr id="3" name="Imagen 2" descr="Una captura de pantalla de una computadora&#10;&#10;El contenido generado por IA puede ser incorrecto.">
            <a:extLst>
              <a:ext uri="{FF2B5EF4-FFF2-40B4-BE49-F238E27FC236}">
                <a16:creationId xmlns:a16="http://schemas.microsoft.com/office/drawing/2014/main" id="{636C6851-2922-716A-A687-51682CE11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929" y="-115916"/>
            <a:ext cx="12283858" cy="708983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81FE0EA-E0A2-18CF-6AF8-856D4F2A1C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45" y="2435550"/>
            <a:ext cx="3402761" cy="362704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E81C0D71-B7F1-B22C-1F86-C270B9CCE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7841" y="2304790"/>
            <a:ext cx="3205263" cy="422127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8844AE35-B361-B8A2-B1D6-58AD90A0B8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5332" y="2942465"/>
            <a:ext cx="4873496" cy="294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7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D7F0D-8B79-8DA6-1CB6-5E200314D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3D1A348-8B91-FEF1-5CD7-CCA39A7CD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2E37A6-E8F1-1B0D-7ABF-673A76E7D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8A1728-E059-666D-DCA5-6A2BD61D717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C12BA09-A935-AF1A-8D95-95175596E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825" y="1876355"/>
            <a:ext cx="4491488" cy="296726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6DCE60A-9694-E014-3757-9996F4C0F06A}"/>
              </a:ext>
            </a:extLst>
          </p:cNvPr>
          <p:cNvSpPr txBox="1"/>
          <p:nvPr/>
        </p:nvSpPr>
        <p:spPr>
          <a:xfrm>
            <a:off x="1440609" y="5227606"/>
            <a:ext cx="948043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ES" sz="2400" dirty="0">
                <a:solidFill>
                  <a:srgbClr val="000000"/>
                </a:solidFill>
              </a:rPr>
              <a:t>Asegurar la continuidad del negocio con una solución de Disaster Recovery basada en nube y altamente escalable</a:t>
            </a:r>
            <a:endParaRPr lang="es-CO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23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4CBBE-9146-FFE8-7478-903A1BF97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79F5AF-4426-AFE3-B01F-73E5EA066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A22567-0B50-F6B5-96FF-5E84CBF913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F3D3F7-6FC4-A9EA-EBA2-E3660D00B5B7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9230FBB-8B4D-8167-73A9-04CA43988714}"/>
              </a:ext>
            </a:extLst>
          </p:cNvPr>
          <p:cNvSpPr txBox="1"/>
          <p:nvPr/>
        </p:nvSpPr>
        <p:spPr>
          <a:xfrm>
            <a:off x="714087" y="1617156"/>
            <a:ext cx="7446722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EC2 Launch Templa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EB6A262-1B56-9563-C026-F624B09A1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306ED9A4-83D9-9202-C1D4-FDAFE2BB2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1175" y="2946895"/>
            <a:ext cx="1043565" cy="112307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913AEBCA-CCD7-0159-F4D3-A561EFB46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494" y="2454030"/>
            <a:ext cx="8385970" cy="3503168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21711D69-C1BF-34D9-DCD9-AC8842D890D5}"/>
              </a:ext>
            </a:extLst>
          </p:cNvPr>
          <p:cNvSpPr txBox="1"/>
          <p:nvPr/>
        </p:nvSpPr>
        <p:spPr>
          <a:xfrm>
            <a:off x="9459734" y="4152379"/>
            <a:ext cx="2684250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CO" sz="1400" dirty="0"/>
              <a:t>ami-0ca4d5db4872d0c28 (Ohio)</a:t>
            </a:r>
          </a:p>
          <a:p>
            <a:pPr algn="ctr"/>
            <a:r>
              <a:rPr lang="es-CO" sz="1400" dirty="0"/>
              <a:t>t2.small</a:t>
            </a:r>
          </a:p>
          <a:p>
            <a:pPr algn="ctr"/>
            <a:r>
              <a:rPr lang="es-CO" sz="1400" dirty="0"/>
              <a:t>iam_instance_profile</a:t>
            </a:r>
          </a:p>
          <a:p>
            <a:pPr algn="ctr"/>
            <a:r>
              <a:rPr lang="es-CO" sz="1400" dirty="0"/>
              <a:t>subnet-public2-us-east-2b</a:t>
            </a:r>
          </a:p>
          <a:p>
            <a:pPr algn="ctr"/>
            <a:r>
              <a:rPr lang="es-CO" sz="1400" dirty="0"/>
              <a:t>webserver-security-</a:t>
            </a:r>
            <a:r>
              <a:rPr lang="es-CO" sz="1400" dirty="0" err="1"/>
              <a:t>group</a:t>
            </a:r>
            <a:endParaRPr lang="es-CO" sz="1400" dirty="0"/>
          </a:p>
          <a:p>
            <a:pPr algn="ctr"/>
            <a:r>
              <a:rPr lang="es-CO" sz="1400" dirty="0" err="1"/>
              <a:t>auto-assign-public-ip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9745089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2FC42A-5F5F-B8DD-BBBF-4673388CA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9EF5A2-E611-8521-9616-19F23FFE0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5A19710-2238-1197-88E4-18A106167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100E96-743B-953F-66B8-316D96E7D69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 TEST (DRIL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93C1702-46B8-30D6-E49A-174563F02ACC}"/>
              </a:ext>
            </a:extLst>
          </p:cNvPr>
          <p:cNvSpPr txBox="1"/>
          <p:nvPr/>
        </p:nvSpPr>
        <p:spPr>
          <a:xfrm>
            <a:off x="908239" y="1920293"/>
            <a:ext cx="8642855" cy="42780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sz="2400" b="1" dirty="0">
                <a:solidFill>
                  <a:srgbClr val="000000"/>
                </a:solidFill>
              </a:rPr>
              <a:t>Punto de control 1 - Actualización a V2 (N Virginia)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pt-BR" sz="1400" b="1" dirty="0">
                <a:solidFill>
                  <a:srgbClr val="000000"/>
                </a:solidFill>
              </a:rPr>
              <a:t>echo "&lt;h1&gt;Hello from EC2 $(hostname) - V2&lt;/h1&gt;" | sudo tee /var/www/html/index.html</a:t>
            </a:r>
          </a:p>
          <a:p>
            <a:endParaRPr lang="es-ES" sz="2400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Monitoreo: </a:t>
            </a:r>
            <a:r>
              <a:rPr lang="es-ES" sz="2400" dirty="0">
                <a:solidFill>
                  <a:srgbClr val="000000"/>
                </a:solidFill>
              </a:rPr>
              <a:t>AWS Console – Recovery Job History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ES" sz="2400" b="1" dirty="0">
                <a:solidFill>
                  <a:srgbClr val="000000"/>
                </a:solidFill>
              </a:rPr>
              <a:t>Prueba cerrada – </a:t>
            </a:r>
            <a:r>
              <a:rPr lang="es-ES" sz="2400" b="1" dirty="0" err="1">
                <a:solidFill>
                  <a:srgbClr val="000000"/>
                </a:solidFill>
              </a:rPr>
              <a:t>Clean</a:t>
            </a:r>
            <a:r>
              <a:rPr lang="es-ES" sz="2400" b="1" dirty="0">
                <a:solidFill>
                  <a:srgbClr val="000000"/>
                </a:solidFill>
              </a:rPr>
              <a:t> up</a:t>
            </a:r>
          </a:p>
          <a:p>
            <a:endParaRPr lang="es-ES" sz="2400" dirty="0">
              <a:solidFill>
                <a:srgbClr val="000000"/>
              </a:solidFill>
            </a:endParaRPr>
          </a:p>
          <a:p>
            <a:r>
              <a:rPr lang="es-CO" sz="2400" b="1" dirty="0"/>
              <a:t>Terminate </a:t>
            </a:r>
            <a:r>
              <a:rPr lang="es-CO" sz="2400" b="1" dirty="0" err="1"/>
              <a:t>recovery</a:t>
            </a:r>
            <a:r>
              <a:rPr lang="es-CO" sz="2400" b="1" dirty="0"/>
              <a:t> instance</a:t>
            </a:r>
          </a:p>
          <a:p>
            <a:endParaRPr lang="es-CO" sz="2400" b="1" dirty="0">
              <a:solidFill>
                <a:srgbClr val="000000"/>
              </a:solidFill>
            </a:endParaRPr>
          </a:p>
          <a:p>
            <a:r>
              <a:rPr lang="es-CO" sz="2400" b="1" dirty="0">
                <a:solidFill>
                  <a:srgbClr val="000000"/>
                </a:solidFill>
                <a:highlight>
                  <a:srgbClr val="FFFF00"/>
                </a:highlight>
              </a:rPr>
              <a:t>XXXX Terminar los otros pasos, o mejor pegar la tabla</a:t>
            </a:r>
            <a:endParaRPr lang="es-ES" sz="2400" b="1" dirty="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3EC8A6A-2EAE-5019-A0C0-5F3A6C368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6304" y="1540824"/>
            <a:ext cx="1981035" cy="84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67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F0DEC-0551-D98B-7DC6-D926F7B72C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FEEBDD-7D9C-0EE3-61EF-FB25BA9B6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09E2C93-A583-1516-715E-88FFB492B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4B47BE-9E32-7CAE-8E92-343120F613B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FAILOVER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FA44D12-B6A4-E171-E1E2-33524969C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015" y="1496982"/>
            <a:ext cx="1735324" cy="93306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FB79356-4EEB-ED27-1F72-8E3670998B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619" y="2235478"/>
            <a:ext cx="10135121" cy="105415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93A7B90B-059E-D82D-0053-3D152814D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738" y="3376790"/>
            <a:ext cx="10450882" cy="155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8714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27CCB-4824-CBCF-D290-11582EDEF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DDA7BD-CA7F-2874-730E-4976114FD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96B766-CA05-7416-072C-4141318B8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68EFD2-E35A-1922-41B7-74891D68FEE5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UALIDADES (Terraform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46D867F-9E64-15BF-C941-E46EB52D3E94}"/>
              </a:ext>
            </a:extLst>
          </p:cNvPr>
          <p:cNvSpPr txBox="1"/>
          <p:nvPr/>
        </p:nvSpPr>
        <p:spPr>
          <a:xfrm>
            <a:off x="1190075" y="1854317"/>
            <a:ext cx="8642855" cy="4524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>
                <a:solidFill>
                  <a:srgbClr val="000000"/>
                </a:solidFill>
              </a:rPr>
              <a:t>INICIALIZACIÓN INICIAL DRS EN LA CONSOLA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IAM ROLE PERMISSION POLICI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LAUNCH TEMPLATE: En el SOURCE SERVER, seleccionar en ambas regiones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 err="1">
                <a:solidFill>
                  <a:srgbClr val="000000"/>
                </a:solidFill>
              </a:rPr>
              <a:t>Clean</a:t>
            </a:r>
            <a:r>
              <a:rPr lang="es-ES" b="1" dirty="0">
                <a:solidFill>
                  <a:srgbClr val="000000"/>
                </a:solidFill>
              </a:rPr>
              <a:t> up destroy: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isconnect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 (DRS) – 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 server (DRS)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Delete</a:t>
            </a:r>
            <a:r>
              <a:rPr lang="es-ES" b="1" dirty="0">
                <a:solidFill>
                  <a:srgbClr val="000000"/>
                </a:solidFill>
              </a:rPr>
              <a:t>:</a:t>
            </a:r>
          </a:p>
          <a:p>
            <a:r>
              <a:rPr lang="es-ES" b="1" dirty="0">
                <a:solidFill>
                  <a:srgbClr val="000000"/>
                </a:solidFill>
              </a:rPr>
              <a:t>		</a:t>
            </a:r>
            <a:r>
              <a:rPr lang="en-US" b="1" dirty="0">
                <a:solidFill>
                  <a:srgbClr val="000000"/>
                </a:solidFill>
              </a:rPr>
              <a:t>Replicat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Conversion Server Security Group</a:t>
            </a:r>
          </a:p>
          <a:p>
            <a:r>
              <a:rPr lang="en-US" b="1" dirty="0">
                <a:solidFill>
                  <a:srgbClr val="000000"/>
                </a:solidFill>
              </a:rPr>
              <a:t>		</a:t>
            </a:r>
            <a:endParaRPr lang="es-ES" b="1" dirty="0">
              <a:solidFill>
                <a:srgbClr val="000000"/>
              </a:solidFill>
            </a:endParaRPr>
          </a:p>
          <a:p>
            <a:r>
              <a:rPr lang="es-ES" b="1" dirty="0">
                <a:solidFill>
                  <a:srgbClr val="000000"/>
                </a:solidFill>
              </a:rPr>
              <a:t>	retirar </a:t>
            </a:r>
            <a:r>
              <a:rPr lang="es-ES" b="1" dirty="0" err="1">
                <a:solidFill>
                  <a:srgbClr val="000000"/>
                </a:solidFill>
              </a:rPr>
              <a:t>permission</a:t>
            </a:r>
            <a:r>
              <a:rPr lang="es-ES" b="1" dirty="0">
                <a:solidFill>
                  <a:srgbClr val="000000"/>
                </a:solidFill>
              </a:rPr>
              <a:t> </a:t>
            </a:r>
            <a:r>
              <a:rPr lang="es-ES" b="1" dirty="0" err="1">
                <a:solidFill>
                  <a:srgbClr val="000000"/>
                </a:solidFill>
              </a:rPr>
              <a:t>policies</a:t>
            </a:r>
            <a:r>
              <a:rPr lang="es-ES" b="1" dirty="0">
                <a:solidFill>
                  <a:srgbClr val="000000"/>
                </a:solidFill>
              </a:rPr>
              <a:t> del rol IAM</a:t>
            </a:r>
          </a:p>
          <a:p>
            <a:r>
              <a:rPr lang="es-ES" b="1" dirty="0">
                <a:solidFill>
                  <a:srgbClr val="000000"/>
                </a:solidFill>
              </a:rPr>
              <a:t>	</a:t>
            </a:r>
            <a:r>
              <a:rPr lang="es-ES" b="1" dirty="0" err="1">
                <a:solidFill>
                  <a:srgbClr val="000000"/>
                </a:solidFill>
              </a:rPr>
              <a:t>source</a:t>
            </a:r>
            <a:r>
              <a:rPr lang="es-ES" b="1" dirty="0">
                <a:solidFill>
                  <a:srgbClr val="000000"/>
                </a:solidFill>
              </a:rPr>
              <a:t> server: stop </a:t>
            </a:r>
            <a:r>
              <a:rPr lang="es-ES" b="1" dirty="0" err="1">
                <a:solidFill>
                  <a:srgbClr val="000000"/>
                </a:solidFill>
              </a:rPr>
              <a:t>replication</a:t>
            </a:r>
            <a:r>
              <a:rPr lang="es-ES" b="1" dirty="0">
                <a:solidFill>
                  <a:srgbClr val="000000"/>
                </a:solidFill>
              </a:rPr>
              <a:t>, </a:t>
            </a: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19FC6F1A-2719-EB8F-6022-EC293D99F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889418"/>
              </p:ext>
            </p:extLst>
          </p:nvPr>
        </p:nvGraphicFramePr>
        <p:xfrm>
          <a:off x="714087" y="4507971"/>
          <a:ext cx="10515600" cy="640080"/>
        </p:xfrm>
        <a:graphic>
          <a:graphicData uri="http://schemas.openxmlformats.org/drawingml/2006/table">
            <a:tbl>
              <a:tblPr/>
              <a:tblGrid>
                <a:gridCol w="5257800">
                  <a:extLst>
                    <a:ext uri="{9D8B030D-6E8A-4147-A177-3AD203B41FA5}">
                      <a16:colId xmlns:a16="http://schemas.microsoft.com/office/drawing/2014/main" val="1406158329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8956035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>
                          <a:effectLst/>
                        </a:rPr>
                        <a:t>AWS Elastic Disaster Recovery default Replication Server Security Group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 lang="es-CO" dirty="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97887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77F09744-B08C-135C-6F14-073AA119C3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087" y="450813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s-CO" altLang="es-C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1502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44470-BA1F-3784-E1F9-FD703A244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5686FA-73B9-F7F6-9027-2BD0B0E42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EF4104-4D9D-7B36-B273-CDEC31A85B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78BE8F-3D29-C4AD-5533-48382FB08B4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Comandos de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troubleshooting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1681D13-6160-CA0B-6318-B2C41B7D9218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006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A6064-BEAA-0F96-85D4-742120F75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029B42-7EDF-2655-7876-F7C8F154A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BC1D27-77CE-F121-46A5-32583B7CA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18CA37-B4FB-0F4A-FC67-F57C72C76F9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Manejo con el cliente (Test vs Desastre real)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F0CE10E-D12A-968A-A9A4-10E7167BCD7D}"/>
              </a:ext>
            </a:extLst>
          </p:cNvPr>
          <p:cNvSpPr txBox="1"/>
          <p:nvPr/>
        </p:nvSpPr>
        <p:spPr>
          <a:xfrm>
            <a:off x="1190075" y="1854317"/>
            <a:ext cx="864285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" b="1" dirty="0" err="1">
                <a:solidFill>
                  <a:srgbClr val="000000"/>
                </a:solidFill>
              </a:rPr>
              <a:t>Sdsdfsd</a:t>
            </a:r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b="1" dirty="0">
              <a:solidFill>
                <a:srgbClr val="000000"/>
              </a:solidFill>
            </a:endParaRPr>
          </a:p>
          <a:p>
            <a:endParaRPr lang="es-E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809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5A5B84-BD2B-8B3C-E862-9FCC270A2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617BA1-E93A-BCED-D065-BC6EAE1A9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B78B94-D972-4FB6-7A97-6D634A5EB1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27625A-E74B-C789-55AD-A4A5F965F8F6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¿Cómo  luce una réplica intermitente?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1D21E8E-D678-63B2-1992-5655F889DA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4263" y="1637702"/>
            <a:ext cx="5294334" cy="45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2694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95436-A697-D515-1506-F74C212F5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FF617C8-5CE0-CBCF-4BBA-BBF088DC9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0539F1-9C2A-7119-9236-216E32677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48ED08-E5C0-129D-7F73-823740CB11BE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(DRS) LABORATORIO – Terminación de una réplic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C3B6661-F789-C7B0-C791-55480E94E4C7}"/>
              </a:ext>
            </a:extLst>
          </p:cNvPr>
          <p:cNvSpPr txBox="1"/>
          <p:nvPr/>
        </p:nvSpPr>
        <p:spPr>
          <a:xfrm>
            <a:off x="3964488" y="3231715"/>
            <a:ext cx="4341381" cy="184665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es-ES" sz="2400" dirty="0"/>
              <a:t>En el </a:t>
            </a:r>
            <a:r>
              <a:rPr lang="es-ES" sz="2400" dirty="0" err="1"/>
              <a:t>Source</a:t>
            </a:r>
            <a:r>
              <a:rPr lang="es-ES" sz="2400" dirty="0"/>
              <a:t> Server:</a:t>
            </a:r>
          </a:p>
          <a:p>
            <a:endParaRPr lang="es-ES" sz="2400" dirty="0"/>
          </a:p>
          <a:p>
            <a:r>
              <a:rPr lang="es-ES" sz="2400" dirty="0" err="1"/>
              <a:t>Replication</a:t>
            </a:r>
            <a:r>
              <a:rPr lang="es-ES" sz="2400" dirty="0"/>
              <a:t> &gt; Stop </a:t>
            </a:r>
            <a:r>
              <a:rPr lang="es-ES" sz="2400" dirty="0" err="1"/>
              <a:t>replication</a:t>
            </a:r>
            <a:endParaRPr lang="es-ES" sz="2400" dirty="0"/>
          </a:p>
          <a:p>
            <a:r>
              <a:rPr lang="es-CO" sz="2400" dirty="0" err="1"/>
              <a:t>Actions</a:t>
            </a:r>
            <a:r>
              <a:rPr lang="es-CO" sz="2400" dirty="0"/>
              <a:t> &gt; </a:t>
            </a:r>
            <a:r>
              <a:rPr lang="es-CO" sz="2400" dirty="0" err="1"/>
              <a:t>Disconnect</a:t>
            </a:r>
            <a:r>
              <a:rPr lang="es-CO" sz="2400" dirty="0"/>
              <a:t> </a:t>
            </a:r>
            <a:r>
              <a:rPr lang="es-CO" sz="2400" dirty="0" err="1"/>
              <a:t>from</a:t>
            </a:r>
            <a:r>
              <a:rPr lang="es-CO" sz="2400" dirty="0"/>
              <a:t> AWS</a:t>
            </a:r>
          </a:p>
          <a:p>
            <a:r>
              <a:rPr lang="es-CO" sz="2400" dirty="0" err="1"/>
              <a:t>Actions</a:t>
            </a:r>
            <a:r>
              <a:rPr lang="es-CO" sz="2400" dirty="0"/>
              <a:t> &gt; </a:t>
            </a:r>
            <a:r>
              <a:rPr lang="es-CO" sz="2400" dirty="0" err="1"/>
              <a:t>Delete</a:t>
            </a:r>
            <a:r>
              <a:rPr lang="es-CO" sz="2400" dirty="0"/>
              <a:t> Server</a:t>
            </a:r>
          </a:p>
        </p:txBody>
      </p:sp>
    </p:spTree>
    <p:extLst>
      <p:ext uri="{BB962C8B-B14F-4D97-AF65-F5344CB8AC3E}">
        <p14:creationId xmlns:p14="http://schemas.microsoft.com/office/powerpoint/2010/main" val="3975049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39EA3-0D91-8DB9-D829-BCBE7D872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3E0568-1F69-4061-2A4D-9D88E7D5C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8CCEE4-FBB0-BEF5-76FF-5F05E4FE78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181444-D35C-8033-8A51-807609034550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Propósito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3DB9508-1CBE-BDC6-F681-F8F1F22C5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750" y="1600621"/>
            <a:ext cx="5644144" cy="284984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B2680A5-E15B-0AAF-5889-CE56CAEF8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2715" y="4679486"/>
            <a:ext cx="4336214" cy="150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23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FDFF4F-A23B-0A60-AA24-D524ADBCC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EBB27-3AEB-D47D-83B4-83E62C7A1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8BA1CA-92EE-858B-4F37-04222EF3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6D5D81-A7D0-7E7E-E5B1-8FAB87B5EDA8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Beneficios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DB71152-E637-DFEC-D14F-1E3AD4009D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700" y="2777706"/>
            <a:ext cx="3462320" cy="187192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B9FBFE4-7365-7ABA-9DD4-DA3AA10E3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4420" y="2771463"/>
            <a:ext cx="3552382" cy="183971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2E3AC1C-BCA5-7CCB-2885-0C1C0C52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456" y="2771463"/>
            <a:ext cx="3188174" cy="183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7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0A29F0-D396-B6DB-C757-2E18930C0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F13BDE-9A11-3ED7-ED05-DCBAD13F0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27C39F1-7C7B-28D9-5ADD-7DA055A438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9299E3-B56B-DE36-076B-FBE286BBAFB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A2E229E-1F58-CA19-5EB0-D47128A79D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4753" y="1730697"/>
            <a:ext cx="8621920" cy="435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84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AA372-F0DA-47D4-15C4-368109139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BBC25F-3175-0D5E-35D4-D60DFA60F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DBB5EC3-DD67-AB46-615F-C89DF7BC6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F87601-0BC3-9E07-DF6B-EAEA0215DAD9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Arquitectura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4E59D06-7FE3-D85B-8A76-D0D81FBD9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290" y="1561958"/>
            <a:ext cx="8353616" cy="4700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28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FED16-9141-F446-6375-2B44141EC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DC777B-F5FB-A695-4E9C-917CEA547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D29440-A4E6-3928-FC29-C2A941D5CF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774F55-A4ED-C293-1B19-A486062EF15B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2A2C3C1-E980-4FA2-CEA1-29779E34C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751" y="1478742"/>
            <a:ext cx="8715924" cy="48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FAAFD-AC09-C94A-6221-BFFBAE570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C4BAF1-1074-0679-F3CB-422726EF4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 </a:t>
            </a:r>
            <a:endParaRPr lang="es-C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58D1A5-81BF-36D5-AA91-183AD28D1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/>
              <a:t> </a:t>
            </a:r>
            <a:endParaRPr lang="es-C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1A1DBD-A315-A584-CC62-E4E05332EEFD}"/>
              </a:ext>
            </a:extLst>
          </p:cNvPr>
          <p:cNvSpPr/>
          <p:nvPr/>
        </p:nvSpPr>
        <p:spPr>
          <a:xfrm>
            <a:off x="714087" y="770965"/>
            <a:ext cx="10283252" cy="60063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Elastic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Disaster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</a:t>
            </a:r>
            <a:r>
              <a:rPr lang="es-CO" b="1" dirty="0" err="1">
                <a:latin typeface="Aptos"/>
                <a:ea typeface="Calibri"/>
                <a:cs typeface="Aptos" panose="020B0004020202020204" pitchFamily="34" charset="0"/>
              </a:rPr>
              <a:t>Recovery</a:t>
            </a:r>
            <a:r>
              <a:rPr lang="es-CO" b="1" dirty="0">
                <a:latin typeface="Aptos"/>
                <a:ea typeface="Calibri"/>
                <a:cs typeface="Aptos" panose="020B0004020202020204" pitchFamily="34" charset="0"/>
              </a:rPr>
              <a:t> (DRS) – Operación</a:t>
            </a:r>
            <a:endParaRPr lang="es-CO" b="1" dirty="0">
              <a:latin typeface="Aptos" panose="020B0004020202020204" pitchFamily="34" charset="0"/>
              <a:ea typeface="Calibri" panose="020F0502020204030204" pitchFamily="34" charset="0"/>
              <a:cs typeface="Aptos" panose="020B00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54BC5FA-4ACF-E15E-8809-2DF2652BF3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64" y="1475118"/>
            <a:ext cx="8689106" cy="48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58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%1&lt;/m_strFormatTime&gt;&lt;m_yearfmt&gt;&lt;begin val=&quot;4&quot;/&gt;&lt;end val=&quot;4&quot;/&gt;&lt;/m_yearfmt&gt;&lt;/m_precDefaultQuarter&gt;&lt;m_precDefaultMonth&gt;&lt;m_bNumberIsYear val=&quot;0&quot;/&gt;&lt;m_strFormatTime&gt;%B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4.68559000000000036579E+00&quot;&gt;&lt;m_msothmcolidx val=&quot;0&quot;/&gt;&lt;m_rgb r=&quot;FF&quot; g=&quot;41&quot; b=&quot;00&quot;/&gt;&lt;m_nBrightness tagver0=&quot;26206&quot; tagname0=&quot;m_nBrightnessUNRECOGNIZED&quot; val=&quot;0&quot;/&gt;&lt;/elem&gt;&lt;elem m_fUsage=&quot;1.00973789999999996603E+00&quot;&gt;&lt;m_msothmcolidx val=&quot;0&quot;/&gt;&lt;m_rgb r=&quot;E6&quot; g=&quot;E6&quot; b=&quot;E6&quot;/&gt;&lt;m_nBrightness tagver0=&quot;26206&quot; tagname0=&quot;m_nBrightnessUNRECOGNIZED&quot; val=&quot;0&quot;/&gt;&lt;/elem&gt;&lt;elem m_fUsage=&quot;8.17887699000000023553E-01&quot;&gt;&lt;m_msothmcolidx val=&quot;0&quot;/&gt;&lt;m_rgb r=&quot;04&quot; g=&quot;82&quot; b=&quot;FF&quot;/&gt;&lt;m_nBrightness tagver0=&quot;26206&quot; tagname0=&quot;m_nBrightnessUNRECOGNIZED&quot; val=&quot;0&quot;/&gt;&lt;/elem&gt;&lt;elem m_fUsage=&quot;7.86732892526108895659E-01&quot;&gt;&lt;m_msothmcolidx val=&quot;0&quot;/&gt;&lt;m_rgb r=&quot;EA&quot; g=&quot;5B&quot; b=&quot;0C&quot;/&gt;&lt;m_nBrightness tagver0=&quot;26206&quot; tagname0=&quot;m_nBrightnessUNRECOGNIZED&quot; val=&quot;0&quot;/&gt;&lt;/elem&gt;&lt;elem m_fUsage=&quot;5.36616119313900075127E-01&quot;&gt;&lt;m_msothmcolidx val=&quot;0&quot;/&gt;&lt;m_rgb r=&quot;85&quot; g=&quot;D7&quot; b=&quot;5E&quot;/&gt;&lt;m_nBrightness tagver0=&quot;26206&quot; tagname0=&quot;m_nBrightnessUNRECOGNIZED&quot; val=&quot;0&quot;/&gt;&lt;/elem&gt;&lt;elem m_fUsage=&quot;4.83763611867299381242E-01&quot;&gt;&lt;m_msothmcolidx val=&quot;0&quot;/&gt;&lt;m_rgb r=&quot;F4&quot; g=&quot;AD&quot; b=&quot;73&quot;/&gt;&lt;m_nBrightness tagver0=&quot;26206&quot; tagname0=&quot;m_nBrightnessUNRECOGNIZED&quot; val=&quot;0&quot;/&gt;&lt;/elem&gt;&lt;elem m_fUsage=&quot;3.13810596090000171188E-01&quot;&gt;&lt;m_msothmcolidx val=&quot;0&quot;/&gt;&lt;m_rgb r=&quot;99&quot; g=&quot;AC&quot; b=&quot;F9&quot;/&gt;&lt;m_nBrightness tagver0=&quot;26206&quot; tagname0=&quot;m_nBrightnessUNRECOGNIZED&quot; val=&quot;0&quot;/&gt;&lt;/elem&gt;&lt;elem m_fUsage=&quot;2.07896079349873530440E-01&quot;&gt;&lt;m_msothmcolidx val=&quot;0&quot;/&gt;&lt;m_rgb r=&quot;FF&quot; g=&quot;00&quot; b=&quot;00&quot;/&gt;&lt;m_nBrightness tagver0=&quot;26206&quot; tagname0=&quot;m_nBrightnessUNRECOGNIZED&quot; val=&quot;0&quot;/&gt;&lt;/elem&gt;&lt;elem m_fUsage=&quot;1.50094635296999207030E-01&quot;&gt;&lt;m_msothmcolidx val=&quot;0&quot;/&gt;&lt;m_rgb r=&quot;AA&quot; g=&quot;AA&quot; b=&quot;AA&quot;/&gt;&lt;m_nBrightness tagver0=&quot;26206&quot; tagname0=&quot;m_nBrightnessUNRECOGNIZED&quot; val=&quot;0&quot;/&gt;&lt;/elem&gt;&lt;elem m_fUsage=&quot;1.21576654590569363523E-01&quot;&gt;&lt;m_msothmcolidx val=&quot;0&quot;/&gt;&lt;m_rgb r=&quot;18&quot; g=&quot;E1&quot; b=&quot;E7&quot;/&gt;&lt;m_nBrightness tagver0=&quot;26206&quot; tagname0=&quot;m_nBrightnessUNRECOGNIZED&quot; val=&quot;0&quot;/&gt;&lt;/elem&gt;&lt;elem m_fUsage=&quot;8.86293811965250810658E-02&quot;&gt;&lt;m_msothmcolidx val=&quot;0&quot;/&gt;&lt;m_rgb r=&quot;C0&quot; g=&quot;00&quot; b=&quot;00&quot;/&gt;&lt;m_nBrightness tagver0=&quot;26206&quot; tagname0=&quot;m_nBrightnessUNRECOGNIZED&quot; val=&quot;0&quot;/&gt;&lt;/elem&gt;&lt;elem m_fUsage=&quot;7.97664430768725701837E-02&quot;&gt;&lt;m_msothmcolidx val=&quot;0&quot;/&gt;&lt;m_rgb r=&quot;1E&quot; g=&quot;26&quot; b=&quot;32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ZnDl8pSk.ncTCjyP4iP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fbW9BSGeDrUgboXDP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JqsFUSq.V3SMxYcJB1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qXwVQaR9yVcaxlKy43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NAOyZSW6yneZbPbOB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QDOg3TyS7YzqF8TUN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dfkC8fR_WCDebEVKnE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q3LvyQKKL6O6uU5KW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K2LcrRZu6gFpHsE4k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DNDPnSLizv3.gMUT8.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UJ4Q6TgaitrWEFagt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otwE6THidE2qUtYs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S9e74Siql4LUylTm7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47QKOQX.bbq6dfBiT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q_.zlQu.ftg5N4H2a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S7g.oTaiqq8mFvOia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4d47TS5ibEhIbSr7k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ldkA15T4KECXb8YGrd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OwPLBQo2Vno6UlzkS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cc0geT4SANJf_k9qJ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BqlCYRx61biPUpCVr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qAJ5bSDmPyXOi8mlb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.yKiosQiywuLQuciWy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s1gKR6.v6GyInBaL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43nTIS6KSaC88AqDN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_i0RrWRxW1NHAXvIRE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cfeqdTrWwkhDNf7vB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JgQ0hoSOGbQWGDqWGk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49Bwm.R9ejUfnzKgjJ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dGC_TZSsmElUh.ZR_yu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HCvSfTkakid5vcYHO3Q"/>
</p:tagLst>
</file>

<file path=ppt/theme/theme1.xml><?xml version="1.0" encoding="utf-8"?>
<a:theme xmlns:a="http://schemas.openxmlformats.org/drawingml/2006/main" name="3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2.xml><?xml version="1.0" encoding="utf-8"?>
<a:theme xmlns:a="http://schemas.openxmlformats.org/drawingml/2006/main" name="White Master">
  <a:themeElements>
    <a:clrScheme name="RIG-2015a">
      <a:dk1>
        <a:srgbClr val="000000"/>
      </a:dk1>
      <a:lt1>
        <a:srgbClr val="FFFFFF"/>
      </a:lt1>
      <a:dk2>
        <a:srgbClr val="FFFFFF"/>
      </a:dk2>
      <a:lt2>
        <a:srgbClr val="6697C3"/>
      </a:lt2>
      <a:accent1>
        <a:srgbClr val="00529B"/>
      </a:accent1>
      <a:accent2>
        <a:srgbClr val="46A33F"/>
      </a:accent2>
      <a:accent3>
        <a:srgbClr val="E5550D"/>
      </a:accent3>
      <a:accent4>
        <a:srgbClr val="6697C3"/>
      </a:accent4>
      <a:accent5>
        <a:srgbClr val="CDCDCD"/>
      </a:accent5>
      <a:accent6>
        <a:srgbClr val="AC0000"/>
      </a:accent6>
      <a:hlink>
        <a:srgbClr val="6697C3"/>
      </a:hlink>
      <a:folHlink>
        <a:srgbClr val="969696"/>
      </a:folHlink>
    </a:clrScheme>
    <a:fontScheme name="Gartner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E96D5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00529B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</a:objectDefaults>
  <a:extraClrSchemeLst/>
  <a:custClrLst>
    <a:custClr name="Gartner Blue">
      <a:srgbClr val="00529B"/>
    </a:custClr>
    <a:custClr name="Green">
      <a:srgbClr val="46A33F"/>
    </a:custClr>
    <a:custClr name="Orange">
      <a:srgbClr val="E5550D"/>
    </a:custClr>
    <a:custClr name="Gartner Blue 40%">
      <a:srgbClr val="6697C3"/>
    </a:custClr>
    <a:custClr name="Gold">
      <a:srgbClr val="FCAF17"/>
    </a:custClr>
    <a:custClr name="Purple">
      <a:srgbClr val="56129D"/>
    </a:custClr>
    <a:custClr name="Red">
      <a:srgbClr val="AC0000"/>
    </a:custClr>
    <a:custClr name="Dark Blue">
      <a:srgbClr val="00254C"/>
    </a:custClr>
    <a:custClr name="Grey 40%">
      <a:srgbClr val="666666"/>
    </a:custClr>
    <a:custClr name="Bright Blue">
      <a:srgbClr val="00A5E3"/>
    </a:custClr>
    <a:custClr name="Gartner Blue 70%">
      <a:srgbClr val="B2CBE1"/>
    </a:custClr>
    <a:custClr name="Green 70%">
      <a:srgbClr val="C7E3C5"/>
    </a:custClr>
    <a:custClr name="Orange 70%">
      <a:srgbClr val="F3CDB2"/>
    </a:custClr>
    <a:custClr name="Gartner Blue 10%">
      <a:srgbClr val="E0EAF3"/>
    </a:custClr>
    <a:custClr name="Gold 70%">
      <a:srgbClr val="FEDFA2"/>
    </a:custClr>
    <a:custClr name="Purple 70%">
      <a:srgbClr val="CCB7E1"/>
    </a:custClr>
    <a:custClr name="Red 70%">
      <a:srgbClr val="DE9999"/>
    </a:custClr>
    <a:custClr name="Dark Blue 70%">
      <a:srgbClr val="B2BDC9"/>
    </a:custClr>
    <a:custClr name="Grey 70%">
      <a:srgbClr val="B2B2B2"/>
    </a:custClr>
    <a:custClr name="Bright Blue 70%">
      <a:srgbClr val="99DBF4"/>
    </a:custClr>
    <a:custClr name="Med Blue">
      <a:srgbClr val="667C94"/>
    </a:custClr>
    <a:custClr name="Green 40%">
      <a:srgbClr val="90C88C"/>
    </a:custClr>
    <a:custClr name="Orange 40%">
      <a:srgbClr val="EF996E"/>
    </a:custClr>
    <a:custClr name="Gartner Blue 40%">
      <a:srgbClr val="A3C0DB"/>
    </a:custClr>
    <a:custClr name="Gold 40%">
      <a:srgbClr val="FDCF74"/>
    </a:custClr>
    <a:custClr name="Purple 40%">
      <a:srgbClr val="9470BA"/>
    </a:custClr>
    <a:custClr name="Red 40%">
      <a:srgbClr val="CD6666"/>
    </a:custClr>
    <a:custClr name="Dark Blue 40%">
      <a:srgbClr val="667C94"/>
    </a:custClr>
    <a:custClr name="Grey 50%">
      <a:srgbClr val="7F7F7F"/>
    </a:custClr>
    <a:custClr name="Bright Blue 40%">
      <a:srgbClr val="66C9EE"/>
    </a:custClr>
  </a:custClrLst>
  <a:extLst>
    <a:ext uri="{05A4C25C-085E-4340-85A3-A5531E510DB2}">
      <thm15:themeFamily xmlns:thm15="http://schemas.microsoft.com/office/thememl/2012/main" name="blank.potx" id="{552B451D-7F96-471F-92AC-A228F8F70D51}" vid="{70E59CB0-414E-436C-8737-828728961DC5}"/>
    </a:ext>
  </a:extLst>
</a:theme>
</file>

<file path=ppt/theme/theme3.xml><?xml version="1.0" encoding="utf-8"?>
<a:theme xmlns:a="http://schemas.openxmlformats.org/drawingml/2006/main" name="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4.xml><?xml version="1.0" encoding="utf-8"?>
<a:theme xmlns:a="http://schemas.openxmlformats.org/drawingml/2006/main" name="4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10008"/>
        </a:solidFill>
        <a:ln>
          <a:solidFill>
            <a:srgbClr val="FFFFFF"/>
          </a:solidFill>
        </a:ln>
      </a:spPr>
      <a:bodyPr rtlCol="0" anchor="ctr"/>
      <a:lstStyle>
        <a:defPPr algn="ctr">
          <a:defRPr sz="14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5.xml><?xml version="1.0" encoding="utf-8"?>
<a:theme xmlns:a="http://schemas.openxmlformats.org/drawingml/2006/main" name="5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_DRAFT V1" id="{A8DCD40B-8BA5-4C32-8675-93AC37116A5D}" vid="{0EE16150-1D2F-4069-B175-411C4407A99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27CC8E5199A14D9F4F161D64FB7355" ma:contentTypeVersion="17" ma:contentTypeDescription="Create a new document." ma:contentTypeScope="" ma:versionID="7d14d04fbcc6658184eb565afebd2a89">
  <xsd:schema xmlns:xsd="http://www.w3.org/2001/XMLSchema" xmlns:xs="http://www.w3.org/2001/XMLSchema" xmlns:p="http://schemas.microsoft.com/office/2006/metadata/properties" xmlns:ns2="6d736a3b-8dca-454b-88ea-b0ea9c6b7974" xmlns:ns3="1e77f71a-413f-484b-9072-314c75965ce9" targetNamespace="http://schemas.microsoft.com/office/2006/metadata/properties" ma:root="true" ma:fieldsID="23a4ad13265b615522a630fd038ebcea" ns2:_="" ns3:_="">
    <xsd:import namespace="6d736a3b-8dca-454b-88ea-b0ea9c6b7974"/>
    <xsd:import namespace="1e77f71a-413f-484b-9072-314c75965c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36a3b-8dca-454b-88ea-b0ea9c6b79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77545af-7be3-4d92-8075-02a47592d6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77f71a-413f-484b-9072-314c75965ce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86e9d51-3bd4-4881-b23d-f3c662218afb}" ma:internalName="TaxCatchAll" ma:showField="CatchAllData" ma:web="1e77f71a-413f-484b-9072-314c75965c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e77f71a-413f-484b-9072-314c75965ce9" xsi:nil="true"/>
    <lcf76f155ced4ddcb4097134ff3c332f xmlns="6d736a3b-8dca-454b-88ea-b0ea9c6b797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BA52823-CCCF-4258-A9DD-7E15B7AC56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55673C-C208-442F-BCA1-638D91D027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736a3b-8dca-454b-88ea-b0ea9c6b7974"/>
    <ds:schemaRef ds:uri="1e77f71a-413f-484b-9072-314c75965c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7610FE4-A646-4430-8CEC-83455403406F}">
  <ds:schemaRefs>
    <ds:schemaRef ds:uri="1e77f71a-413f-484b-9072-314c75965ce9"/>
    <ds:schemaRef ds:uri="http://purl.org/dc/elements/1.1/"/>
    <ds:schemaRef ds:uri="6d736a3b-8dca-454b-88ea-b0ea9c6b7974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87</TotalTime>
  <Words>725</Words>
  <Application>Microsoft Office PowerPoint</Application>
  <PresentationFormat>Panorámica</PresentationFormat>
  <Paragraphs>209</Paragraphs>
  <Slides>3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7</vt:i4>
      </vt:variant>
    </vt:vector>
  </HeadingPairs>
  <TitlesOfParts>
    <vt:vector size="54" baseType="lpstr">
      <vt:lpstr>ＭＳ Ｐゴシック</vt:lpstr>
      <vt:lpstr>Aptos</vt:lpstr>
      <vt:lpstr>Arial</vt:lpstr>
      <vt:lpstr>Arial MT Light</vt:lpstr>
      <vt:lpstr>Calibri</vt:lpstr>
      <vt:lpstr>Corbel</vt:lpstr>
      <vt:lpstr>Times</vt:lpstr>
      <vt:lpstr>Verdana</vt:lpstr>
      <vt:lpstr>Wingdings</vt:lpstr>
      <vt:lpstr>Wingdings 2</vt:lpstr>
      <vt:lpstr>Wingdings 3</vt:lpstr>
      <vt:lpstr>3_LLA Strategy Theme</vt:lpstr>
      <vt:lpstr>White Master</vt:lpstr>
      <vt:lpstr>LLA Strategy Theme</vt:lpstr>
      <vt:lpstr>4_LLA Strategy Theme</vt:lpstr>
      <vt:lpstr>5_LLA Strategy Theme</vt:lpstr>
      <vt:lpstr>Diapositiva de think-cell</vt:lpstr>
      <vt:lpstr>Presentación de PowerPoint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Hamilton Stewart Rodríguez Parra</cp:lastModifiedBy>
  <cp:revision>653</cp:revision>
  <cp:lastPrinted>2018-05-11T03:40:12Z</cp:lastPrinted>
  <dcterms:created xsi:type="dcterms:W3CDTF">2018-05-10T19:14:30Z</dcterms:created>
  <dcterms:modified xsi:type="dcterms:W3CDTF">2025-10-21T03:3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27CC8E5199A14D9F4F161D64FB7355</vt:lpwstr>
  </property>
  <property fmtid="{D5CDD505-2E9C-101B-9397-08002B2CF9AE}" pid="3" name="MediaServiceImageTags">
    <vt:lpwstr/>
  </property>
</Properties>
</file>